
<file path=[Content_Types].xml><?xml version="1.0" encoding="utf-8"?>
<Types xmlns="http://schemas.openxmlformats.org/package/2006/content-types">
  <Default Extension="bin" ContentType="image/jpeg"/>
  <Default Extension="emf" ContentType="image/x-emf"/>
  <Default Extension="jfif"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2.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3.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20.xml" ContentType="application/vnd.openxmlformats-officedocument.presentationml.tags+xml"/>
  <Override PartName="/ppt/tags/tag21.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8.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2.xml" ContentType="application/vnd.openxmlformats-officedocument.presentationml.tags+xml"/>
  <Override PartName="/ppt/notesSlides/notesSlide3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25.xml" ContentType="application/vnd.openxmlformats-officedocument.presentationml.tags+xml"/>
  <Override PartName="/ppt/tags/tag26.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39.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40.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41.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tags/tag27.xml" ContentType="application/vnd.openxmlformats-officedocument.presentationml.tags+xml"/>
  <Override PartName="/ppt/notesSlides/notesSlide4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4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tags/tag32.xml" ContentType="application/vnd.openxmlformats-officedocument.presentationml.tags+xml"/>
  <Override PartName="/ppt/tags/tag33.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48.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49.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50.xml" ContentType="application/vnd.openxmlformats-officedocument.presentationml.notesSlide+xml"/>
  <Override PartName="/ppt/tags/tag34.xml" ContentType="application/vnd.openxmlformats-officedocument.presentationml.tags+xml"/>
  <Override PartName="/ppt/notesSlides/notesSlide5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52.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6"/>
  </p:sldMasterIdLst>
  <p:notesMasterIdLst>
    <p:notesMasterId r:id="rId79"/>
  </p:notesMasterIdLst>
  <p:handoutMasterIdLst>
    <p:handoutMasterId r:id="rId80"/>
  </p:handoutMasterIdLst>
  <p:sldIdLst>
    <p:sldId id="260" r:id="rId17"/>
    <p:sldId id="258" r:id="rId18"/>
    <p:sldId id="562" r:id="rId19"/>
    <p:sldId id="561" r:id="rId20"/>
    <p:sldId id="534" r:id="rId21"/>
    <p:sldId id="645" r:id="rId22"/>
    <p:sldId id="646" r:id="rId23"/>
    <p:sldId id="560" r:id="rId24"/>
    <p:sldId id="564" r:id="rId25"/>
    <p:sldId id="565" r:id="rId26"/>
    <p:sldId id="647" r:id="rId27"/>
    <p:sldId id="649" r:id="rId28"/>
    <p:sldId id="650" r:id="rId29"/>
    <p:sldId id="651" r:id="rId30"/>
    <p:sldId id="652" r:id="rId31"/>
    <p:sldId id="567" r:id="rId32"/>
    <p:sldId id="568" r:id="rId33"/>
    <p:sldId id="569" r:id="rId34"/>
    <p:sldId id="643" r:id="rId35"/>
    <p:sldId id="571" r:id="rId36"/>
    <p:sldId id="572" r:id="rId37"/>
    <p:sldId id="653" r:id="rId38"/>
    <p:sldId id="654" r:id="rId39"/>
    <p:sldId id="655" r:id="rId40"/>
    <p:sldId id="656" r:id="rId41"/>
    <p:sldId id="657" r:id="rId42"/>
    <p:sldId id="576" r:id="rId43"/>
    <p:sldId id="642" r:id="rId44"/>
    <p:sldId id="578" r:id="rId45"/>
    <p:sldId id="579" r:id="rId46"/>
    <p:sldId id="658" r:id="rId47"/>
    <p:sldId id="659" r:id="rId48"/>
    <p:sldId id="660" r:id="rId49"/>
    <p:sldId id="661" r:id="rId50"/>
    <p:sldId id="662" r:id="rId51"/>
    <p:sldId id="580" r:id="rId52"/>
    <p:sldId id="663" r:id="rId53"/>
    <p:sldId id="581" r:id="rId54"/>
    <p:sldId id="583" r:id="rId55"/>
    <p:sldId id="641" r:id="rId56"/>
    <p:sldId id="589" r:id="rId57"/>
    <p:sldId id="590" r:id="rId58"/>
    <p:sldId id="664" r:id="rId59"/>
    <p:sldId id="665" r:id="rId60"/>
    <p:sldId id="666" r:id="rId61"/>
    <p:sldId id="667" r:id="rId62"/>
    <p:sldId id="668" r:id="rId63"/>
    <p:sldId id="669" r:id="rId64"/>
    <p:sldId id="593" r:id="rId65"/>
    <p:sldId id="594" r:id="rId66"/>
    <p:sldId id="595" r:id="rId67"/>
    <p:sldId id="640" r:id="rId68"/>
    <p:sldId id="597" r:id="rId69"/>
    <p:sldId id="598" r:id="rId70"/>
    <p:sldId id="670" r:id="rId71"/>
    <p:sldId id="671" r:id="rId72"/>
    <p:sldId id="672" r:id="rId73"/>
    <p:sldId id="677" r:id="rId74"/>
    <p:sldId id="601" r:id="rId75"/>
    <p:sldId id="603" r:id="rId76"/>
    <p:sldId id="638" r:id="rId77"/>
    <p:sldId id="259" r:id="rId78"/>
  </p:sldIdLst>
  <p:sldSz cx="12192000" cy="6858000"/>
  <p:notesSz cx="6858000" cy="9144000"/>
  <p:custDataLst>
    <p:tags r:id="rId8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1" id="{25ADF4C8-2200-4410-9F45-B05F5BA6D4E6}">
          <p14:sldIdLst>
            <p14:sldId id="561"/>
            <p14:sldId id="534"/>
            <p14:sldId id="645"/>
            <p14:sldId id="646"/>
            <p14:sldId id="560"/>
          </p14:sldIdLst>
        </p14:section>
        <p14:section name="Lesson2" id="{6F639A05-2893-48A9-A600-6681E43668C4}">
          <p14:sldIdLst>
            <p14:sldId id="564"/>
            <p14:sldId id="565"/>
            <p14:sldId id="647"/>
            <p14:sldId id="649"/>
            <p14:sldId id="650"/>
            <p14:sldId id="651"/>
            <p14:sldId id="652"/>
            <p14:sldId id="567"/>
            <p14:sldId id="568"/>
            <p14:sldId id="569"/>
            <p14:sldId id="643"/>
          </p14:sldIdLst>
        </p14:section>
        <p14:section name="Lesson3" id="{555EB127-B06E-428F-91FE-B308FD5309AF}">
          <p14:sldIdLst>
            <p14:sldId id="571"/>
            <p14:sldId id="572"/>
            <p14:sldId id="653"/>
            <p14:sldId id="654"/>
            <p14:sldId id="655"/>
            <p14:sldId id="656"/>
            <p14:sldId id="657"/>
            <p14:sldId id="576"/>
            <p14:sldId id="642"/>
          </p14:sldIdLst>
        </p14:section>
        <p14:section name="Lesson4" id="{63544ED9-10A0-4C1D-9901-207766AD9BA2}">
          <p14:sldIdLst>
            <p14:sldId id="578"/>
            <p14:sldId id="579"/>
            <p14:sldId id="658"/>
            <p14:sldId id="659"/>
            <p14:sldId id="660"/>
            <p14:sldId id="661"/>
            <p14:sldId id="662"/>
            <p14:sldId id="580"/>
            <p14:sldId id="663"/>
            <p14:sldId id="581"/>
            <p14:sldId id="583"/>
            <p14:sldId id="641"/>
          </p14:sldIdLst>
        </p14:section>
        <p14:section name="Lesson5" id="{D7B769EC-26A6-4530-86A4-A6675E0EA58E}">
          <p14:sldIdLst>
            <p14:sldId id="589"/>
            <p14:sldId id="590"/>
            <p14:sldId id="664"/>
            <p14:sldId id="665"/>
            <p14:sldId id="666"/>
            <p14:sldId id="667"/>
            <p14:sldId id="668"/>
            <p14:sldId id="669"/>
            <p14:sldId id="593"/>
            <p14:sldId id="594"/>
            <p14:sldId id="595"/>
            <p14:sldId id="640"/>
          </p14:sldIdLst>
        </p14:section>
        <p14:section name="Lesson6" id="{2F671395-BDA2-4B2E-9C23-3821CDFFB471}">
          <p14:sldIdLst>
            <p14:sldId id="597"/>
            <p14:sldId id="598"/>
            <p14:sldId id="670"/>
            <p14:sldId id="671"/>
            <p14:sldId id="672"/>
            <p14:sldId id="677"/>
            <p14:sldId id="601"/>
            <p14:sldId id="603"/>
          </p14:sldIdLst>
        </p14:section>
        <p14:section name="End" id="{86A7F3F3-0014-4FB3-BFE9-51D204A66A63}">
          <p14:sldIdLst>
            <p14:sldId id="638"/>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 id="2" name="Renata Festa" initials="RF" lastIdx="2" clrIdx="1">
    <p:extLst>
      <p:ext uri="{19B8F6BF-5375-455C-9EA6-DF929625EA0E}">
        <p15:presenceInfo xmlns:p15="http://schemas.microsoft.com/office/powerpoint/2012/main" userId="S::rfesta@microsoft.com::6f22df47-533b-4c2a-a3c1-7f9ad1d63e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A36DC1-AF99-48B8-A910-AFAB6C4165BF}" v="10" dt="2020-10-15T20:21:35.734"/>
  </p1510:revLst>
</p1510:revInfo>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06" autoAdjust="0"/>
    <p:restoredTop sz="35472" autoAdjust="0"/>
  </p:normalViewPr>
  <p:slideViewPr>
    <p:cSldViewPr showGuides="1">
      <p:cViewPr varScale="1">
        <p:scale>
          <a:sx n="30" d="100"/>
          <a:sy n="30" d="100"/>
        </p:scale>
        <p:origin x="2611" y="29"/>
      </p:cViewPr>
      <p:guideLst/>
    </p:cSldViewPr>
  </p:slid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105" d="100"/>
          <a:sy n="105" d="100"/>
        </p:scale>
        <p:origin x="6826"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84" Type="http://schemas.openxmlformats.org/officeDocument/2006/relationships/viewProps" Target="viewProps.xml"/><Relationship Id="rId16" Type="http://schemas.openxmlformats.org/officeDocument/2006/relationships/slideMaster" Target="slideMasters/slideMaster1.xml"/><Relationship Id="rId11" Type="http://schemas.openxmlformats.org/officeDocument/2006/relationships/customXml" Target="../customXml/item11.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slide" Target="slides/slide37.xml"/><Relationship Id="rId58" Type="http://schemas.openxmlformats.org/officeDocument/2006/relationships/slide" Target="slides/slide42.xml"/><Relationship Id="rId74" Type="http://schemas.openxmlformats.org/officeDocument/2006/relationships/slide" Target="slides/slide58.xml"/><Relationship Id="rId79" Type="http://schemas.openxmlformats.org/officeDocument/2006/relationships/notesMaster" Target="notesMasters/notesMaster1.xml"/><Relationship Id="rId5" Type="http://schemas.openxmlformats.org/officeDocument/2006/relationships/customXml" Target="../customXml/item5.xml"/><Relationship Id="rId19" Type="http://schemas.openxmlformats.org/officeDocument/2006/relationships/slide" Target="slides/slide3.xml"/><Relationship Id="rId14" Type="http://schemas.openxmlformats.org/officeDocument/2006/relationships/customXml" Target="../customXml/item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slide" Target="slides/slide61.xml"/><Relationship Id="rId8" Type="http://schemas.openxmlformats.org/officeDocument/2006/relationships/customXml" Target="../customXml/item8.xml"/><Relationship Id="rId51" Type="http://schemas.openxmlformats.org/officeDocument/2006/relationships/slide" Target="slides/slide35.xml"/><Relationship Id="rId72" Type="http://schemas.openxmlformats.org/officeDocument/2006/relationships/slide" Target="slides/slide56.xml"/><Relationship Id="rId80" Type="http://schemas.openxmlformats.org/officeDocument/2006/relationships/handoutMaster" Target="handoutMasters/handoutMaster1.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presProps" Target="presProps.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customXml" Target="../customXml/item10.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tags" Target="tags/tag1.xml"/><Relationship Id="rId86"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 Target="slides/slide2.xml"/><Relationship Id="rId39" Type="http://schemas.openxmlformats.org/officeDocument/2006/relationships/slide" Target="slides/slide2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slide" Target="slides/slide60.xml"/><Relationship Id="rId7" Type="http://schemas.openxmlformats.org/officeDocument/2006/relationships/customXml" Target="../customXml/item7.xml"/><Relationship Id="rId71" Type="http://schemas.openxmlformats.org/officeDocument/2006/relationships/slide" Target="slides/slide55.xml"/><Relationship Id="rId2" Type="http://schemas.openxmlformats.org/officeDocument/2006/relationships/customXml" Target="../customXml/item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 Id="rId87" Type="http://schemas.microsoft.com/office/2016/11/relationships/changesInfo" Target="changesInfos/changesInfo1.xml"/><Relationship Id="rId61" Type="http://schemas.openxmlformats.org/officeDocument/2006/relationships/slide" Target="slides/slide45.xml"/><Relationship Id="rId8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nata Festa" userId="6f22df47-533b-4c2a-a3c1-7f9ad1d63e10" providerId="ADAL" clId="{7C36C7AD-2136-4B7C-9124-CE720D1C8896}"/>
    <pc:docChg chg="undo custSel mod addSld delSld modSld sldOrd modSection">
      <pc:chgData name="Renata Festa" userId="6f22df47-533b-4c2a-a3c1-7f9ad1d63e10" providerId="ADAL" clId="{7C36C7AD-2136-4B7C-9124-CE720D1C8896}" dt="2020-03-30T14:53:54.611" v="828" actId="12084"/>
      <pc:docMkLst>
        <pc:docMk/>
      </pc:docMkLst>
      <pc:sldChg chg="del">
        <pc:chgData name="Renata Festa" userId="6f22df47-533b-4c2a-a3c1-7f9ad1d63e10" providerId="ADAL" clId="{7C36C7AD-2136-4B7C-9124-CE720D1C8896}" dt="2020-03-30T13:14:28.553" v="80" actId="47"/>
        <pc:sldMkLst>
          <pc:docMk/>
          <pc:sldMk cId="3235270007" sldId="257"/>
        </pc:sldMkLst>
      </pc:sldChg>
      <pc:sldChg chg="addSp">
        <pc:chgData name="Renata Festa" userId="6f22df47-533b-4c2a-a3c1-7f9ad1d63e10" providerId="ADAL" clId="{7C36C7AD-2136-4B7C-9124-CE720D1C8896}" dt="2020-03-26T20:37:19.243" v="0"/>
        <pc:sldMkLst>
          <pc:docMk/>
          <pc:sldMk cId="1196121053" sldId="260"/>
        </pc:sldMkLst>
        <pc:spChg chg="add">
          <ac:chgData name="Renata Festa" userId="6f22df47-533b-4c2a-a3c1-7f9ad1d63e10" providerId="ADAL" clId="{7C36C7AD-2136-4B7C-9124-CE720D1C8896}" dt="2020-03-26T20:37:19.243" v="0"/>
          <ac:spMkLst>
            <pc:docMk/>
            <pc:sldMk cId="1196121053" sldId="260"/>
            <ac:spMk id="16" creationId="{B4942742-FB4A-4AFE-B2EC-11BAD3546E54}"/>
          </ac:spMkLst>
        </pc:spChg>
        <pc:grpChg chg="add">
          <ac:chgData name="Renata Festa" userId="6f22df47-533b-4c2a-a3c1-7f9ad1d63e10" providerId="ADAL" clId="{7C36C7AD-2136-4B7C-9124-CE720D1C8896}" dt="2020-03-26T20:37:19.243" v="0"/>
          <ac:grpSpMkLst>
            <pc:docMk/>
            <pc:sldMk cId="1196121053" sldId="260"/>
            <ac:grpSpMk id="7" creationId="{120C7642-2C00-4857-ACC4-6A1DC528E0E0}"/>
          </ac:grpSpMkLst>
        </pc:grpChg>
      </pc:sldChg>
      <pc:sldChg chg="del">
        <pc:chgData name="Renata Festa" userId="6f22df47-533b-4c2a-a3c1-7f9ad1d63e10" providerId="ADAL" clId="{7C36C7AD-2136-4B7C-9124-CE720D1C8896}" dt="2020-03-30T13:14:29.228" v="82" actId="47"/>
        <pc:sldMkLst>
          <pc:docMk/>
          <pc:sldMk cId="4267675391" sldId="531"/>
        </pc:sldMkLst>
      </pc:sldChg>
      <pc:sldChg chg="del">
        <pc:chgData name="Renata Festa" userId="6f22df47-533b-4c2a-a3c1-7f9ad1d63e10" providerId="ADAL" clId="{7C36C7AD-2136-4B7C-9124-CE720D1C8896}" dt="2020-03-30T13:14:29.592" v="83" actId="47"/>
        <pc:sldMkLst>
          <pc:docMk/>
          <pc:sldMk cId="1861621179" sldId="535"/>
        </pc:sldMkLst>
      </pc:sldChg>
      <pc:sldChg chg="modNotesTx">
        <pc:chgData name="Renata Festa" userId="6f22df47-533b-4c2a-a3c1-7f9ad1d63e10" providerId="ADAL" clId="{7C36C7AD-2136-4B7C-9124-CE720D1C8896}" dt="2020-03-30T13:11:00.110" v="12" actId="20577"/>
        <pc:sldMkLst>
          <pc:docMk/>
          <pc:sldMk cId="4083746080" sldId="561"/>
        </pc:sldMkLst>
      </pc:sldChg>
      <pc:sldChg chg="modNotesTx">
        <pc:chgData name="Renata Festa" userId="6f22df47-533b-4c2a-a3c1-7f9ad1d63e10" providerId="ADAL" clId="{7C36C7AD-2136-4B7C-9124-CE720D1C8896}" dt="2020-03-30T13:10:42.200" v="10" actId="20577"/>
        <pc:sldMkLst>
          <pc:docMk/>
          <pc:sldMk cId="1615560134" sldId="562"/>
        </pc:sldMkLst>
      </pc:sldChg>
      <pc:sldChg chg="del">
        <pc:chgData name="Renata Festa" userId="6f22df47-533b-4c2a-a3c1-7f9ad1d63e10" providerId="ADAL" clId="{7C36C7AD-2136-4B7C-9124-CE720D1C8896}" dt="2020-03-30T13:14:31.803" v="84" actId="47"/>
        <pc:sldMkLst>
          <pc:docMk/>
          <pc:sldMk cId="3735096506" sldId="563"/>
        </pc:sldMkLst>
      </pc:sldChg>
      <pc:sldChg chg="add del modNotesTx">
        <pc:chgData name="Renata Festa" userId="6f22df47-533b-4c2a-a3c1-7f9ad1d63e10" providerId="ADAL" clId="{7C36C7AD-2136-4B7C-9124-CE720D1C8896}" dt="2020-03-30T13:15:30.976" v="126" actId="20577"/>
        <pc:sldMkLst>
          <pc:docMk/>
          <pc:sldMk cId="289400407" sldId="564"/>
        </pc:sldMkLst>
      </pc:sldChg>
      <pc:sldChg chg="add del modNotesTx">
        <pc:chgData name="Renata Festa" userId="6f22df47-533b-4c2a-a3c1-7f9ad1d63e10" providerId="ADAL" clId="{7C36C7AD-2136-4B7C-9124-CE720D1C8896}" dt="2020-03-30T13:15:36.194" v="128" actId="20577"/>
        <pc:sldMkLst>
          <pc:docMk/>
          <pc:sldMk cId="2034824179" sldId="565"/>
        </pc:sldMkLst>
      </pc:sldChg>
      <pc:sldChg chg="del">
        <pc:chgData name="Renata Festa" userId="6f22df47-533b-4c2a-a3c1-7f9ad1d63e10" providerId="ADAL" clId="{7C36C7AD-2136-4B7C-9124-CE720D1C8896}" dt="2020-03-30T13:52:01.511" v="250" actId="47"/>
        <pc:sldMkLst>
          <pc:docMk/>
          <pc:sldMk cId="4221783869" sldId="566"/>
        </pc:sldMkLst>
      </pc:sldChg>
      <pc:sldChg chg="modSp mod ord modShow">
        <pc:chgData name="Renata Festa" userId="6f22df47-533b-4c2a-a3c1-7f9ad1d63e10" providerId="ADAL" clId="{7C36C7AD-2136-4B7C-9124-CE720D1C8896}" dt="2020-03-30T13:51:56.159" v="249" actId="729"/>
        <pc:sldMkLst>
          <pc:docMk/>
          <pc:sldMk cId="670385602" sldId="567"/>
        </pc:sldMkLst>
        <pc:spChg chg="mod">
          <ac:chgData name="Renata Festa" userId="6f22df47-533b-4c2a-a3c1-7f9ad1d63e10" providerId="ADAL" clId="{7C36C7AD-2136-4B7C-9124-CE720D1C8896}" dt="2020-03-30T13:51:43.375" v="245" actId="20577"/>
          <ac:spMkLst>
            <pc:docMk/>
            <pc:sldMk cId="670385602" sldId="567"/>
            <ac:spMk id="3" creationId="{8F64A22E-2B43-4FC6-AF08-0CDB3F9E9269}"/>
          </ac:spMkLst>
        </pc:spChg>
        <pc:spChg chg="mod">
          <ac:chgData name="Renata Festa" userId="6f22df47-533b-4c2a-a3c1-7f9ad1d63e10" providerId="ADAL" clId="{7C36C7AD-2136-4B7C-9124-CE720D1C8896}" dt="2020-03-30T13:51:51.844" v="248" actId="12"/>
          <ac:spMkLst>
            <pc:docMk/>
            <pc:sldMk cId="670385602" sldId="567"/>
            <ac:spMk id="6" creationId="{637E159C-9ACF-48AE-927A-D5FB13695C7F}"/>
          </ac:spMkLst>
        </pc:spChg>
      </pc:sldChg>
      <pc:sldChg chg="modSp mod">
        <pc:chgData name="Renata Festa" userId="6f22df47-533b-4c2a-a3c1-7f9ad1d63e10" providerId="ADAL" clId="{7C36C7AD-2136-4B7C-9124-CE720D1C8896}" dt="2020-03-30T13:52:12.602" v="256" actId="20577"/>
        <pc:sldMkLst>
          <pc:docMk/>
          <pc:sldMk cId="2147177822" sldId="568"/>
        </pc:sldMkLst>
        <pc:spChg chg="mod">
          <ac:chgData name="Renata Festa" userId="6f22df47-533b-4c2a-a3c1-7f9ad1d63e10" providerId="ADAL" clId="{7C36C7AD-2136-4B7C-9124-CE720D1C8896}" dt="2020-03-30T13:52:06.100" v="252"/>
          <ac:spMkLst>
            <pc:docMk/>
            <pc:sldMk cId="2147177822" sldId="568"/>
            <ac:spMk id="2" creationId="{BC57B38C-8413-4861-A4F5-7DF656AEAD0D}"/>
          </ac:spMkLst>
        </pc:spChg>
        <pc:spChg chg="mod">
          <ac:chgData name="Renata Festa" userId="6f22df47-533b-4c2a-a3c1-7f9ad1d63e10" providerId="ADAL" clId="{7C36C7AD-2136-4B7C-9124-CE720D1C8896}" dt="2020-03-30T13:52:12.602" v="256" actId="20577"/>
          <ac:spMkLst>
            <pc:docMk/>
            <pc:sldMk cId="2147177822" sldId="568"/>
            <ac:spMk id="3" creationId="{4897B8F8-26DF-42FB-ACB0-59929F1C2344}"/>
          </ac:spMkLst>
        </pc:spChg>
      </pc:sldChg>
      <pc:sldChg chg="del">
        <pc:chgData name="Renata Festa" userId="6f22df47-533b-4c2a-a3c1-7f9ad1d63e10" providerId="ADAL" clId="{7C36C7AD-2136-4B7C-9124-CE720D1C8896}" dt="2020-03-30T13:52:36.905" v="259" actId="47"/>
        <pc:sldMkLst>
          <pc:docMk/>
          <pc:sldMk cId="2346840044" sldId="570"/>
        </pc:sldMkLst>
      </pc:sldChg>
      <pc:sldChg chg="modSp">
        <pc:chgData name="Renata Festa" userId="6f22df47-533b-4c2a-a3c1-7f9ad1d63e10" providerId="ADAL" clId="{7C36C7AD-2136-4B7C-9124-CE720D1C8896}" dt="2020-03-30T13:52:55.386" v="260"/>
        <pc:sldMkLst>
          <pc:docMk/>
          <pc:sldMk cId="2314306782" sldId="572"/>
        </pc:sldMkLst>
        <pc:spChg chg="mod">
          <ac:chgData name="Renata Festa" userId="6f22df47-533b-4c2a-a3c1-7f9ad1d63e10" providerId="ADAL" clId="{7C36C7AD-2136-4B7C-9124-CE720D1C8896}" dt="2020-03-30T13:52:55.386" v="260"/>
          <ac:spMkLst>
            <pc:docMk/>
            <pc:sldMk cId="2314306782" sldId="572"/>
            <ac:spMk id="5" creationId="{55182462-DFDF-4D48-A92C-42FD52821C4E}"/>
          </ac:spMkLst>
        </pc:spChg>
      </pc:sldChg>
      <pc:sldChg chg="del">
        <pc:chgData name="Renata Festa" userId="6f22df47-533b-4c2a-a3c1-7f9ad1d63e10" providerId="ADAL" clId="{7C36C7AD-2136-4B7C-9124-CE720D1C8896}" dt="2020-03-30T14:20:33.381" v="470" actId="47"/>
        <pc:sldMkLst>
          <pc:docMk/>
          <pc:sldMk cId="4248838292" sldId="573"/>
        </pc:sldMkLst>
      </pc:sldChg>
      <pc:sldChg chg="del">
        <pc:chgData name="Renata Festa" userId="6f22df47-533b-4c2a-a3c1-7f9ad1d63e10" providerId="ADAL" clId="{7C36C7AD-2136-4B7C-9124-CE720D1C8896}" dt="2020-03-30T14:20:33.381" v="470" actId="47"/>
        <pc:sldMkLst>
          <pc:docMk/>
          <pc:sldMk cId="1487953619" sldId="574"/>
        </pc:sldMkLst>
      </pc:sldChg>
      <pc:sldChg chg="del">
        <pc:chgData name="Renata Festa" userId="6f22df47-533b-4c2a-a3c1-7f9ad1d63e10" providerId="ADAL" clId="{7C36C7AD-2136-4B7C-9124-CE720D1C8896}" dt="2020-03-30T14:20:33.381" v="470" actId="47"/>
        <pc:sldMkLst>
          <pc:docMk/>
          <pc:sldMk cId="3563492871" sldId="575"/>
        </pc:sldMkLst>
      </pc:sldChg>
      <pc:sldChg chg="del">
        <pc:chgData name="Renata Festa" userId="6f22df47-533b-4c2a-a3c1-7f9ad1d63e10" providerId="ADAL" clId="{7C36C7AD-2136-4B7C-9124-CE720D1C8896}" dt="2020-03-30T14:20:53.399" v="478" actId="47"/>
        <pc:sldMkLst>
          <pc:docMk/>
          <pc:sldMk cId="4206133277" sldId="577"/>
        </pc:sldMkLst>
      </pc:sldChg>
      <pc:sldChg chg="addSp delSp modSp mod modClrScheme modAnim chgLayout">
        <pc:chgData name="Renata Festa" userId="6f22df47-533b-4c2a-a3c1-7f9ad1d63e10" providerId="ADAL" clId="{7C36C7AD-2136-4B7C-9124-CE720D1C8896}" dt="2020-03-30T14:32:22.653" v="589" actId="14100"/>
        <pc:sldMkLst>
          <pc:docMk/>
          <pc:sldMk cId="3847515031" sldId="580"/>
        </pc:sldMkLst>
        <pc:spChg chg="mod">
          <ac:chgData name="Renata Festa" userId="6f22df47-533b-4c2a-a3c1-7f9ad1d63e10" providerId="ADAL" clId="{7C36C7AD-2136-4B7C-9124-CE720D1C8896}" dt="2020-03-30T14:31:54.525" v="586" actId="26606"/>
          <ac:spMkLst>
            <pc:docMk/>
            <pc:sldMk cId="3847515031" sldId="580"/>
            <ac:spMk id="2" creationId="{EB67312A-9819-43C6-8D84-D9136E6CFFCC}"/>
          </ac:spMkLst>
        </pc:spChg>
        <pc:spChg chg="del">
          <ac:chgData name="Renata Festa" userId="6f22df47-533b-4c2a-a3c1-7f9ad1d63e10" providerId="ADAL" clId="{7C36C7AD-2136-4B7C-9124-CE720D1C8896}" dt="2020-03-30T14:28:44.992" v="570" actId="478"/>
          <ac:spMkLst>
            <pc:docMk/>
            <pc:sldMk cId="3847515031" sldId="580"/>
            <ac:spMk id="3" creationId="{F35E8CBB-5A7D-4DEF-BAF7-8DD5D042F9E0}"/>
          </ac:spMkLst>
        </pc:spChg>
        <pc:spChg chg="add del">
          <ac:chgData name="Renata Festa" userId="6f22df47-533b-4c2a-a3c1-7f9ad1d63e10" providerId="ADAL" clId="{7C36C7AD-2136-4B7C-9124-CE720D1C8896}" dt="2020-03-30T14:31:54.525" v="586" actId="26606"/>
          <ac:spMkLst>
            <pc:docMk/>
            <pc:sldMk cId="3847515031" sldId="580"/>
            <ac:spMk id="4" creationId="{F3616A99-090F-45E1-9334-58D58B148205}"/>
          </ac:spMkLst>
        </pc:spChg>
        <pc:spChg chg="add del mod ord">
          <ac:chgData name="Renata Festa" userId="6f22df47-533b-4c2a-a3c1-7f9ad1d63e10" providerId="ADAL" clId="{7C36C7AD-2136-4B7C-9124-CE720D1C8896}" dt="2020-03-30T14:31:54.525" v="586" actId="26606"/>
          <ac:spMkLst>
            <pc:docMk/>
            <pc:sldMk cId="3847515031" sldId="580"/>
            <ac:spMk id="7" creationId="{2A304515-80CC-430D-B41C-497177A9351C}"/>
          </ac:spMkLst>
        </pc:spChg>
        <pc:spChg chg="add del mod">
          <ac:chgData name="Renata Festa" userId="6f22df47-533b-4c2a-a3c1-7f9ad1d63e10" providerId="ADAL" clId="{7C36C7AD-2136-4B7C-9124-CE720D1C8896}" dt="2020-03-30T14:31:48.583" v="580" actId="26606"/>
          <ac:spMkLst>
            <pc:docMk/>
            <pc:sldMk cId="3847515031" sldId="580"/>
            <ac:spMk id="9" creationId="{FB109C37-295A-4D58-A179-CC66836ADE77}"/>
          </ac:spMkLst>
        </pc:spChg>
        <pc:spChg chg="add del mod">
          <ac:chgData name="Renata Festa" userId="6f22df47-533b-4c2a-a3c1-7f9ad1d63e10" providerId="ADAL" clId="{7C36C7AD-2136-4B7C-9124-CE720D1C8896}" dt="2020-03-30T14:31:49.855" v="582" actId="26606"/>
          <ac:spMkLst>
            <pc:docMk/>
            <pc:sldMk cId="3847515031" sldId="580"/>
            <ac:spMk id="11" creationId="{CFEBDC97-8DC2-46CF-AD48-D45DF86F07EE}"/>
          </ac:spMkLst>
        </pc:spChg>
        <pc:spChg chg="add del mod">
          <ac:chgData name="Renata Festa" userId="6f22df47-533b-4c2a-a3c1-7f9ad1d63e10" providerId="ADAL" clId="{7C36C7AD-2136-4B7C-9124-CE720D1C8896}" dt="2020-03-30T14:31:42.543" v="578" actId="26606"/>
          <ac:spMkLst>
            <pc:docMk/>
            <pc:sldMk cId="3847515031" sldId="580"/>
            <ac:spMk id="12" creationId="{FB109C37-295A-4D58-A179-CC66836ADE77}"/>
          </ac:spMkLst>
        </pc:spChg>
        <pc:spChg chg="add del mod">
          <ac:chgData name="Renata Festa" userId="6f22df47-533b-4c2a-a3c1-7f9ad1d63e10" providerId="ADAL" clId="{7C36C7AD-2136-4B7C-9124-CE720D1C8896}" dt="2020-03-30T14:31:49.855" v="582" actId="26606"/>
          <ac:spMkLst>
            <pc:docMk/>
            <pc:sldMk cId="3847515031" sldId="580"/>
            <ac:spMk id="14" creationId="{7264E479-4ACA-4A59-9D90-6E16190CDA24}"/>
          </ac:spMkLst>
        </pc:spChg>
        <pc:spChg chg="add del mod">
          <ac:chgData name="Renata Festa" userId="6f22df47-533b-4c2a-a3c1-7f9ad1d63e10" providerId="ADAL" clId="{7C36C7AD-2136-4B7C-9124-CE720D1C8896}" dt="2020-03-30T14:31:52.345" v="584" actId="26606"/>
          <ac:spMkLst>
            <pc:docMk/>
            <pc:sldMk cId="3847515031" sldId="580"/>
            <ac:spMk id="16" creationId="{7BF89C5E-A695-4A46-95ED-5036AFF76EF9}"/>
          </ac:spMkLst>
        </pc:spChg>
        <pc:spChg chg="add del mod">
          <ac:chgData name="Renata Festa" userId="6f22df47-533b-4c2a-a3c1-7f9ad1d63e10" providerId="ADAL" clId="{7C36C7AD-2136-4B7C-9124-CE720D1C8896}" dt="2020-03-30T14:31:52.345" v="584" actId="26606"/>
          <ac:spMkLst>
            <pc:docMk/>
            <pc:sldMk cId="3847515031" sldId="580"/>
            <ac:spMk id="17" creationId="{521AD5B2-8100-44FA-9620-852318C422EA}"/>
          </ac:spMkLst>
        </pc:spChg>
        <pc:spChg chg="add del mod">
          <ac:chgData name="Renata Festa" userId="6f22df47-533b-4c2a-a3c1-7f9ad1d63e10" providerId="ADAL" clId="{7C36C7AD-2136-4B7C-9124-CE720D1C8896}" dt="2020-03-30T14:31:52.345" v="584" actId="26606"/>
          <ac:spMkLst>
            <pc:docMk/>
            <pc:sldMk cId="3847515031" sldId="580"/>
            <ac:spMk id="18" creationId="{4C4B4F0A-E4CE-447B-BAC8-415CE7151AE2}"/>
          </ac:spMkLst>
        </pc:spChg>
        <pc:spChg chg="add del mod">
          <ac:chgData name="Renata Festa" userId="6f22df47-533b-4c2a-a3c1-7f9ad1d63e10" providerId="ADAL" clId="{7C36C7AD-2136-4B7C-9124-CE720D1C8896}" dt="2020-03-30T14:31:54.525" v="586" actId="26606"/>
          <ac:spMkLst>
            <pc:docMk/>
            <pc:sldMk cId="3847515031" sldId="580"/>
            <ac:spMk id="20" creationId="{620FF06D-C065-42E7-BBBC-B5CD49EC9708}"/>
          </ac:spMkLst>
        </pc:spChg>
        <pc:spChg chg="add del mod">
          <ac:chgData name="Renata Festa" userId="6f22df47-533b-4c2a-a3c1-7f9ad1d63e10" providerId="ADAL" clId="{7C36C7AD-2136-4B7C-9124-CE720D1C8896}" dt="2020-03-30T14:31:54.525" v="586" actId="26606"/>
          <ac:spMkLst>
            <pc:docMk/>
            <pc:sldMk cId="3847515031" sldId="580"/>
            <ac:spMk id="21" creationId="{328AACFE-74BF-4393-A709-09FC6E2565B6}"/>
          </ac:spMkLst>
        </pc:spChg>
        <pc:spChg chg="add del mod">
          <ac:chgData name="Renata Festa" userId="6f22df47-533b-4c2a-a3c1-7f9ad1d63e10" providerId="ADAL" clId="{7C36C7AD-2136-4B7C-9124-CE720D1C8896}" dt="2020-03-30T14:31:54.525" v="586" actId="26606"/>
          <ac:spMkLst>
            <pc:docMk/>
            <pc:sldMk cId="3847515031" sldId="580"/>
            <ac:spMk id="22" creationId="{76FDFCF6-D4B5-407C-9B5A-42265120661F}"/>
          </ac:spMkLst>
        </pc:spChg>
        <pc:spChg chg="add del mod">
          <ac:chgData name="Renata Festa" userId="6f22df47-533b-4c2a-a3c1-7f9ad1d63e10" providerId="ADAL" clId="{7C36C7AD-2136-4B7C-9124-CE720D1C8896}" dt="2020-03-30T14:31:54.525" v="586" actId="26606"/>
          <ac:spMkLst>
            <pc:docMk/>
            <pc:sldMk cId="3847515031" sldId="580"/>
            <ac:spMk id="23" creationId="{60107068-EBCA-450F-B751-E2D31C0B144C}"/>
          </ac:spMkLst>
        </pc:spChg>
        <pc:graphicFrameChg chg="add del mod">
          <ac:chgData name="Renata Festa" userId="6f22df47-533b-4c2a-a3c1-7f9ad1d63e10" providerId="ADAL" clId="{7C36C7AD-2136-4B7C-9124-CE720D1C8896}" dt="2020-03-30T14:31:01.363" v="576" actId="12084"/>
          <ac:graphicFrameMkLst>
            <pc:docMk/>
            <pc:sldMk cId="3847515031" sldId="580"/>
            <ac:graphicFrameMk id="8" creationId="{A3C428DF-5929-4093-B9DB-CE6A23757EAB}"/>
          </ac:graphicFrameMkLst>
        </pc:graphicFrameChg>
        <pc:picChg chg="add mod">
          <ac:chgData name="Renata Festa" userId="6f22df47-533b-4c2a-a3c1-7f9ad1d63e10" providerId="ADAL" clId="{7C36C7AD-2136-4B7C-9124-CE720D1C8896}" dt="2020-03-30T14:31:54.525" v="586" actId="26606"/>
          <ac:picMkLst>
            <pc:docMk/>
            <pc:sldMk cId="3847515031" sldId="580"/>
            <ac:picMk id="5" creationId="{8468691C-61FA-4134-AD5A-8EBDF4634B4D}"/>
          </ac:picMkLst>
        </pc:picChg>
        <pc:picChg chg="add mod">
          <ac:chgData name="Renata Festa" userId="6f22df47-533b-4c2a-a3c1-7f9ad1d63e10" providerId="ADAL" clId="{7C36C7AD-2136-4B7C-9124-CE720D1C8896}" dt="2020-03-30T14:32:22.653" v="589" actId="14100"/>
          <ac:picMkLst>
            <pc:docMk/>
            <pc:sldMk cId="3847515031" sldId="580"/>
            <ac:picMk id="6" creationId="{0377BE43-61F4-4FF9-96F3-46C11BB38120}"/>
          </ac:picMkLst>
        </pc:picChg>
      </pc:sldChg>
      <pc:sldChg chg="modSp mod">
        <pc:chgData name="Renata Festa" userId="6f22df47-533b-4c2a-a3c1-7f9ad1d63e10" providerId="ADAL" clId="{7C36C7AD-2136-4B7C-9124-CE720D1C8896}" dt="2020-03-30T14:35:08.525" v="623" actId="12"/>
        <pc:sldMkLst>
          <pc:docMk/>
          <pc:sldMk cId="3638635031" sldId="581"/>
        </pc:sldMkLst>
        <pc:spChg chg="mod">
          <ac:chgData name="Renata Festa" userId="6f22df47-533b-4c2a-a3c1-7f9ad1d63e10" providerId="ADAL" clId="{7C36C7AD-2136-4B7C-9124-CE720D1C8896}" dt="2020-03-30T14:34:59.356" v="620"/>
          <ac:spMkLst>
            <pc:docMk/>
            <pc:sldMk cId="3638635031" sldId="581"/>
            <ac:spMk id="3" creationId="{8F64A22E-2B43-4FC6-AF08-0CDB3F9E9269}"/>
          </ac:spMkLst>
        </pc:spChg>
        <pc:spChg chg="mod">
          <ac:chgData name="Renata Festa" userId="6f22df47-533b-4c2a-a3c1-7f9ad1d63e10" providerId="ADAL" clId="{7C36C7AD-2136-4B7C-9124-CE720D1C8896}" dt="2020-03-30T14:35:08.525" v="623" actId="12"/>
          <ac:spMkLst>
            <pc:docMk/>
            <pc:sldMk cId="3638635031" sldId="581"/>
            <ac:spMk id="6" creationId="{637E159C-9ACF-48AE-927A-D5FB13695C7F}"/>
          </ac:spMkLst>
        </pc:spChg>
      </pc:sldChg>
      <pc:sldChg chg="del">
        <pc:chgData name="Renata Festa" userId="6f22df47-533b-4c2a-a3c1-7f9ad1d63e10" providerId="ADAL" clId="{7C36C7AD-2136-4B7C-9124-CE720D1C8896}" dt="2020-03-30T14:35:19.566" v="624" actId="47"/>
        <pc:sldMkLst>
          <pc:docMk/>
          <pc:sldMk cId="4165669708" sldId="582"/>
        </pc:sldMkLst>
      </pc:sldChg>
      <pc:sldChg chg="del">
        <pc:chgData name="Renata Festa" userId="6f22df47-533b-4c2a-a3c1-7f9ad1d63e10" providerId="ADAL" clId="{7C36C7AD-2136-4B7C-9124-CE720D1C8896}" dt="2020-03-30T14:35:20.673" v="625" actId="47"/>
        <pc:sldMkLst>
          <pc:docMk/>
          <pc:sldMk cId="3326970067" sldId="584"/>
        </pc:sldMkLst>
      </pc:sldChg>
      <pc:sldChg chg="del">
        <pc:chgData name="Renata Festa" userId="6f22df47-533b-4c2a-a3c1-7f9ad1d63e10" providerId="ADAL" clId="{7C36C7AD-2136-4B7C-9124-CE720D1C8896}" dt="2020-03-30T13:14:28.878" v="81" actId="47"/>
        <pc:sldMkLst>
          <pc:docMk/>
          <pc:sldMk cId="3372985199" sldId="585"/>
        </pc:sldMkLst>
      </pc:sldChg>
      <pc:sldChg chg="del">
        <pc:chgData name="Renata Festa" userId="6f22df47-533b-4c2a-a3c1-7f9ad1d63e10" providerId="ADAL" clId="{7C36C7AD-2136-4B7C-9124-CE720D1C8896}" dt="2020-03-30T13:52:02.040" v="251" actId="47"/>
        <pc:sldMkLst>
          <pc:docMk/>
          <pc:sldMk cId="2607320393" sldId="586"/>
        </pc:sldMkLst>
      </pc:sldChg>
      <pc:sldChg chg="del">
        <pc:chgData name="Renata Festa" userId="6f22df47-533b-4c2a-a3c1-7f9ad1d63e10" providerId="ADAL" clId="{7C36C7AD-2136-4B7C-9124-CE720D1C8896}" dt="2020-03-30T14:20:33.381" v="470" actId="47"/>
        <pc:sldMkLst>
          <pc:docMk/>
          <pc:sldMk cId="2855973961" sldId="587"/>
        </pc:sldMkLst>
      </pc:sldChg>
      <pc:sldChg chg="del">
        <pc:chgData name="Renata Festa" userId="6f22df47-533b-4c2a-a3c1-7f9ad1d63e10" providerId="ADAL" clId="{7C36C7AD-2136-4B7C-9124-CE720D1C8896}" dt="2020-03-30T14:34:50.870" v="617" actId="47"/>
        <pc:sldMkLst>
          <pc:docMk/>
          <pc:sldMk cId="1206691497" sldId="588"/>
        </pc:sldMkLst>
      </pc:sldChg>
      <pc:sldChg chg="del">
        <pc:chgData name="Renata Festa" userId="6f22df47-533b-4c2a-a3c1-7f9ad1d63e10" providerId="ADAL" clId="{7C36C7AD-2136-4B7C-9124-CE720D1C8896}" dt="2020-03-30T14:44:19.865" v="700" actId="47"/>
        <pc:sldMkLst>
          <pc:docMk/>
          <pc:sldMk cId="3959608542" sldId="591"/>
        </pc:sldMkLst>
      </pc:sldChg>
      <pc:sldChg chg="del">
        <pc:chgData name="Renata Festa" userId="6f22df47-533b-4c2a-a3c1-7f9ad1d63e10" providerId="ADAL" clId="{7C36C7AD-2136-4B7C-9124-CE720D1C8896}" dt="2020-03-30T14:44:19.865" v="700" actId="47"/>
        <pc:sldMkLst>
          <pc:docMk/>
          <pc:sldMk cId="316402804" sldId="592"/>
        </pc:sldMkLst>
      </pc:sldChg>
      <pc:sldChg chg="modSp mod">
        <pc:chgData name="Renata Festa" userId="6f22df47-533b-4c2a-a3c1-7f9ad1d63e10" providerId="ADAL" clId="{7C36C7AD-2136-4B7C-9124-CE720D1C8896}" dt="2020-03-30T14:44:34.582" v="707" actId="20577"/>
        <pc:sldMkLst>
          <pc:docMk/>
          <pc:sldMk cId="2401107922" sldId="593"/>
        </pc:sldMkLst>
        <pc:spChg chg="mod">
          <ac:chgData name="Renata Festa" userId="6f22df47-533b-4c2a-a3c1-7f9ad1d63e10" providerId="ADAL" clId="{7C36C7AD-2136-4B7C-9124-CE720D1C8896}" dt="2020-03-30T14:44:26.589" v="703"/>
          <ac:spMkLst>
            <pc:docMk/>
            <pc:sldMk cId="2401107922" sldId="593"/>
            <ac:spMk id="3" creationId="{8F64A22E-2B43-4FC6-AF08-0CDB3F9E9269}"/>
          </ac:spMkLst>
        </pc:spChg>
        <pc:spChg chg="mod">
          <ac:chgData name="Renata Festa" userId="6f22df47-533b-4c2a-a3c1-7f9ad1d63e10" providerId="ADAL" clId="{7C36C7AD-2136-4B7C-9124-CE720D1C8896}" dt="2020-03-30T14:44:34.582" v="707" actId="20577"/>
          <ac:spMkLst>
            <pc:docMk/>
            <pc:sldMk cId="2401107922" sldId="593"/>
            <ac:spMk id="6" creationId="{637E159C-9ACF-48AE-927A-D5FB13695C7F}"/>
          </ac:spMkLst>
        </pc:spChg>
      </pc:sldChg>
      <pc:sldChg chg="modSp mod">
        <pc:chgData name="Renata Festa" userId="6f22df47-533b-4c2a-a3c1-7f9ad1d63e10" providerId="ADAL" clId="{7C36C7AD-2136-4B7C-9124-CE720D1C8896}" dt="2020-03-30T14:44:57.506" v="711" actId="12"/>
        <pc:sldMkLst>
          <pc:docMk/>
          <pc:sldMk cId="830604392" sldId="594"/>
        </pc:sldMkLst>
        <pc:spChg chg="mod">
          <ac:chgData name="Renata Festa" userId="6f22df47-533b-4c2a-a3c1-7f9ad1d63e10" providerId="ADAL" clId="{7C36C7AD-2136-4B7C-9124-CE720D1C8896}" dt="2020-03-30T14:44:46.887" v="708"/>
          <ac:spMkLst>
            <pc:docMk/>
            <pc:sldMk cId="830604392" sldId="594"/>
            <ac:spMk id="2" creationId="{BC57B38C-8413-4861-A4F5-7DF656AEAD0D}"/>
          </ac:spMkLst>
        </pc:spChg>
        <pc:spChg chg="mod">
          <ac:chgData name="Renata Festa" userId="6f22df47-533b-4c2a-a3c1-7f9ad1d63e10" providerId="ADAL" clId="{7C36C7AD-2136-4B7C-9124-CE720D1C8896}" dt="2020-03-30T14:44:57.506" v="711" actId="12"/>
          <ac:spMkLst>
            <pc:docMk/>
            <pc:sldMk cId="830604392" sldId="594"/>
            <ac:spMk id="3" creationId="{4897B8F8-26DF-42FB-ACB0-59929F1C2344}"/>
          </ac:spMkLst>
        </pc:spChg>
      </pc:sldChg>
      <pc:sldChg chg="del">
        <pc:chgData name="Renata Festa" userId="6f22df47-533b-4c2a-a3c1-7f9ad1d63e10" providerId="ADAL" clId="{7C36C7AD-2136-4B7C-9124-CE720D1C8896}" dt="2020-03-30T14:45:12.933" v="714" actId="47"/>
        <pc:sldMkLst>
          <pc:docMk/>
          <pc:sldMk cId="1815017121" sldId="596"/>
        </pc:sldMkLst>
      </pc:sldChg>
      <pc:sldChg chg="del">
        <pc:chgData name="Renata Festa" userId="6f22df47-533b-4c2a-a3c1-7f9ad1d63e10" providerId="ADAL" clId="{7C36C7AD-2136-4B7C-9124-CE720D1C8896}" dt="2020-03-30T14:50:35.432" v="797" actId="47"/>
        <pc:sldMkLst>
          <pc:docMk/>
          <pc:sldMk cId="480316712" sldId="599"/>
        </pc:sldMkLst>
      </pc:sldChg>
      <pc:sldChg chg="del">
        <pc:chgData name="Renata Festa" userId="6f22df47-533b-4c2a-a3c1-7f9ad1d63e10" providerId="ADAL" clId="{7C36C7AD-2136-4B7C-9124-CE720D1C8896}" dt="2020-03-30T14:50:35.432" v="797" actId="47"/>
        <pc:sldMkLst>
          <pc:docMk/>
          <pc:sldMk cId="3584455979" sldId="600"/>
        </pc:sldMkLst>
      </pc:sldChg>
      <pc:sldChg chg="modSp mod">
        <pc:chgData name="Renata Festa" userId="6f22df47-533b-4c2a-a3c1-7f9ad1d63e10" providerId="ADAL" clId="{7C36C7AD-2136-4B7C-9124-CE720D1C8896}" dt="2020-03-30T14:50:52.528" v="803" actId="6549"/>
        <pc:sldMkLst>
          <pc:docMk/>
          <pc:sldMk cId="990636349" sldId="601"/>
        </pc:sldMkLst>
        <pc:spChg chg="mod">
          <ac:chgData name="Renata Festa" userId="6f22df47-533b-4c2a-a3c1-7f9ad1d63e10" providerId="ADAL" clId="{7C36C7AD-2136-4B7C-9124-CE720D1C8896}" dt="2020-03-30T14:50:44.423" v="800"/>
          <ac:spMkLst>
            <pc:docMk/>
            <pc:sldMk cId="990636349" sldId="601"/>
            <ac:spMk id="3" creationId="{8F64A22E-2B43-4FC6-AF08-0CDB3F9E9269}"/>
          </ac:spMkLst>
        </pc:spChg>
        <pc:spChg chg="mod">
          <ac:chgData name="Renata Festa" userId="6f22df47-533b-4c2a-a3c1-7f9ad1d63e10" providerId="ADAL" clId="{7C36C7AD-2136-4B7C-9124-CE720D1C8896}" dt="2020-03-30T14:50:52.528" v="803" actId="6549"/>
          <ac:spMkLst>
            <pc:docMk/>
            <pc:sldMk cId="990636349" sldId="601"/>
            <ac:spMk id="6" creationId="{637E159C-9ACF-48AE-927A-D5FB13695C7F}"/>
          </ac:spMkLst>
        </pc:spChg>
      </pc:sldChg>
      <pc:sldChg chg="del">
        <pc:chgData name="Renata Festa" userId="6f22df47-533b-4c2a-a3c1-7f9ad1d63e10" providerId="ADAL" clId="{7C36C7AD-2136-4B7C-9124-CE720D1C8896}" dt="2020-03-30T14:51:03.238" v="804" actId="47"/>
        <pc:sldMkLst>
          <pc:docMk/>
          <pc:sldMk cId="624912330" sldId="602"/>
        </pc:sldMkLst>
      </pc:sldChg>
      <pc:sldChg chg="del">
        <pc:chgData name="Renata Festa" userId="6f22df47-533b-4c2a-a3c1-7f9ad1d63e10" providerId="ADAL" clId="{7C36C7AD-2136-4B7C-9124-CE720D1C8896}" dt="2020-03-30T14:51:06.779" v="806" actId="47"/>
        <pc:sldMkLst>
          <pc:docMk/>
          <pc:sldMk cId="268932514" sldId="604"/>
        </pc:sldMkLst>
      </pc:sldChg>
      <pc:sldChg chg="addSp delSp modSp add modAnim">
        <pc:chgData name="Renata Festa" userId="6f22df47-533b-4c2a-a3c1-7f9ad1d63e10" providerId="ADAL" clId="{7C36C7AD-2136-4B7C-9124-CE720D1C8896}" dt="2020-03-30T14:53:54.611" v="828" actId="12084"/>
        <pc:sldMkLst>
          <pc:docMk/>
          <pc:sldMk cId="815604796" sldId="638"/>
        </pc:sldMkLst>
        <pc:spChg chg="add del mod">
          <ac:chgData name="Renata Festa" userId="6f22df47-533b-4c2a-a3c1-7f9ad1d63e10" providerId="ADAL" clId="{7C36C7AD-2136-4B7C-9124-CE720D1C8896}" dt="2020-03-30T14:53:23.916" v="826" actId="12084"/>
          <ac:spMkLst>
            <pc:docMk/>
            <pc:sldMk cId="815604796" sldId="638"/>
            <ac:spMk id="3" creationId="{C6DC77C1-05CA-4D88-A639-19683643104A}"/>
          </ac:spMkLst>
        </pc:spChg>
        <pc:spChg chg="add del mod">
          <ac:chgData name="Renata Festa" userId="6f22df47-533b-4c2a-a3c1-7f9ad1d63e10" providerId="ADAL" clId="{7C36C7AD-2136-4B7C-9124-CE720D1C8896}" dt="2020-03-30T14:53:54.611" v="828" actId="12084"/>
          <ac:spMkLst>
            <pc:docMk/>
            <pc:sldMk cId="815604796" sldId="638"/>
            <ac:spMk id="6" creationId="{80D70C13-1DD8-468C-B460-73693EFD5344}"/>
          </ac:spMkLst>
        </pc:spChg>
        <pc:graphicFrameChg chg="add del mod">
          <ac:chgData name="Renata Festa" userId="6f22df47-533b-4c2a-a3c1-7f9ad1d63e10" providerId="ADAL" clId="{7C36C7AD-2136-4B7C-9124-CE720D1C8896}" dt="2020-03-30T14:53:38.853" v="827" actId="11529"/>
          <ac:graphicFrameMkLst>
            <pc:docMk/>
            <pc:sldMk cId="815604796" sldId="638"/>
            <ac:graphicFrameMk id="4" creationId="{A0E07124-D3C3-489A-8AC6-1DE47E60DD0B}"/>
          </ac:graphicFrameMkLst>
        </pc:graphicFrameChg>
        <pc:graphicFrameChg chg="del mod">
          <ac:chgData name="Renata Festa" userId="6f22df47-533b-4c2a-a3c1-7f9ad1d63e10" providerId="ADAL" clId="{7C36C7AD-2136-4B7C-9124-CE720D1C8896}" dt="2020-03-30T14:52:42.326" v="825" actId="11529"/>
          <ac:graphicFrameMkLst>
            <pc:docMk/>
            <pc:sldMk cId="815604796" sldId="638"/>
            <ac:graphicFrameMk id="5" creationId="{9D786396-8886-485A-8B68-490D282F3302}"/>
          </ac:graphicFrameMkLst>
        </pc:graphicFrameChg>
        <pc:graphicFrameChg chg="add mod">
          <ac:chgData name="Renata Festa" userId="6f22df47-533b-4c2a-a3c1-7f9ad1d63e10" providerId="ADAL" clId="{7C36C7AD-2136-4B7C-9124-CE720D1C8896}" dt="2020-03-30T14:53:54.611" v="828" actId="12084"/>
          <ac:graphicFrameMkLst>
            <pc:docMk/>
            <pc:sldMk cId="815604796" sldId="638"/>
            <ac:graphicFrameMk id="7" creationId="{59902B4A-6F86-4B3D-AA92-ACBB0C6CCE5F}"/>
          </ac:graphicFrameMkLst>
        </pc:graphicFrameChg>
      </pc:sldChg>
      <pc:sldChg chg="add mod modShow addCm modCm">
        <pc:chgData name="Renata Festa" userId="6f22df47-533b-4c2a-a3c1-7f9ad1d63e10" providerId="ADAL" clId="{7C36C7AD-2136-4B7C-9124-CE720D1C8896}" dt="2020-03-30T14:51:24.152" v="808"/>
        <pc:sldMkLst>
          <pc:docMk/>
          <pc:sldMk cId="167837933" sldId="639"/>
        </pc:sldMkLst>
      </pc:sldChg>
      <pc:sldChg chg="modSp add">
        <pc:chgData name="Renata Festa" userId="6f22df47-533b-4c2a-a3c1-7f9ad1d63e10" providerId="ADAL" clId="{7C36C7AD-2136-4B7C-9124-CE720D1C8896}" dt="2020-03-30T14:45:07.750" v="713"/>
        <pc:sldMkLst>
          <pc:docMk/>
          <pc:sldMk cId="2498375047" sldId="640"/>
        </pc:sldMkLst>
        <pc:graphicFrameChg chg="mod">
          <ac:chgData name="Renata Festa" userId="6f22df47-533b-4c2a-a3c1-7f9ad1d63e10" providerId="ADAL" clId="{7C36C7AD-2136-4B7C-9124-CE720D1C8896}" dt="2020-03-30T14:45:07.750" v="713"/>
          <ac:graphicFrameMkLst>
            <pc:docMk/>
            <pc:sldMk cId="2498375047" sldId="640"/>
            <ac:graphicFrameMk id="3" creationId="{9484E1FE-7534-495E-863C-657A46F5E628}"/>
          </ac:graphicFrameMkLst>
        </pc:graphicFrameChg>
      </pc:sldChg>
      <pc:sldChg chg="modSp add modAnim">
        <pc:chgData name="Renata Festa" userId="6f22df47-533b-4c2a-a3c1-7f9ad1d63e10" providerId="ADAL" clId="{7C36C7AD-2136-4B7C-9124-CE720D1C8896}" dt="2020-03-30T14:35:34.275" v="631" actId="20577"/>
        <pc:sldMkLst>
          <pc:docMk/>
          <pc:sldMk cId="4042745818" sldId="641"/>
        </pc:sldMkLst>
        <pc:graphicFrameChg chg="mod">
          <ac:chgData name="Renata Festa" userId="6f22df47-533b-4c2a-a3c1-7f9ad1d63e10" providerId="ADAL" clId="{7C36C7AD-2136-4B7C-9124-CE720D1C8896}" dt="2020-03-30T14:35:34.275" v="631" actId="20577"/>
          <ac:graphicFrameMkLst>
            <pc:docMk/>
            <pc:sldMk cId="4042745818" sldId="641"/>
            <ac:graphicFrameMk id="3" creationId="{9484E1FE-7534-495E-863C-657A46F5E628}"/>
          </ac:graphicFrameMkLst>
        </pc:graphicFrameChg>
      </pc:sldChg>
      <pc:sldChg chg="modSp add modAnim">
        <pc:chgData name="Renata Festa" userId="6f22df47-533b-4c2a-a3c1-7f9ad1d63e10" providerId="ADAL" clId="{7C36C7AD-2136-4B7C-9124-CE720D1C8896}" dt="2020-03-30T14:20:47.884" v="477"/>
        <pc:sldMkLst>
          <pc:docMk/>
          <pc:sldMk cId="2364637494" sldId="642"/>
        </pc:sldMkLst>
        <pc:graphicFrameChg chg="mod">
          <ac:chgData name="Renata Festa" userId="6f22df47-533b-4c2a-a3c1-7f9ad1d63e10" providerId="ADAL" clId="{7C36C7AD-2136-4B7C-9124-CE720D1C8896}" dt="2020-03-30T14:20:47.884" v="477"/>
          <ac:graphicFrameMkLst>
            <pc:docMk/>
            <pc:sldMk cId="2364637494" sldId="642"/>
            <ac:graphicFrameMk id="3" creationId="{9484E1FE-7534-495E-863C-657A46F5E628}"/>
          </ac:graphicFrameMkLst>
        </pc:graphicFrameChg>
      </pc:sldChg>
      <pc:sldChg chg="modSp add">
        <pc:chgData name="Renata Festa" userId="6f22df47-533b-4c2a-a3c1-7f9ad1d63e10" providerId="ADAL" clId="{7C36C7AD-2136-4B7C-9124-CE720D1C8896}" dt="2020-03-30T13:52:28.745" v="258"/>
        <pc:sldMkLst>
          <pc:docMk/>
          <pc:sldMk cId="1238568575" sldId="643"/>
        </pc:sldMkLst>
        <pc:graphicFrameChg chg="mod">
          <ac:chgData name="Renata Festa" userId="6f22df47-533b-4c2a-a3c1-7f9ad1d63e10" providerId="ADAL" clId="{7C36C7AD-2136-4B7C-9124-CE720D1C8896}" dt="2020-03-30T13:52:28.745" v="258"/>
          <ac:graphicFrameMkLst>
            <pc:docMk/>
            <pc:sldMk cId="1238568575" sldId="643"/>
            <ac:graphicFrameMk id="3" creationId="{9484E1FE-7534-495E-863C-657A46F5E628}"/>
          </ac:graphicFrameMkLst>
        </pc:graphicFrameChg>
      </pc:sldChg>
      <pc:sldChg chg="modSp add mod modAnim modShow addCm modCm modNotesTx">
        <pc:chgData name="Renata Festa" userId="6f22df47-533b-4c2a-a3c1-7f9ad1d63e10" providerId="ADAL" clId="{7C36C7AD-2136-4B7C-9124-CE720D1C8896}" dt="2020-03-30T13:15:13.374" v="120" actId="20577"/>
        <pc:sldMkLst>
          <pc:docMk/>
          <pc:sldMk cId="2643841819" sldId="644"/>
        </pc:sldMkLst>
        <pc:graphicFrameChg chg="mod">
          <ac:chgData name="Renata Festa" userId="6f22df47-533b-4c2a-a3c1-7f9ad1d63e10" providerId="ADAL" clId="{7C36C7AD-2136-4B7C-9124-CE720D1C8896}" dt="2020-03-30T13:14:40.599" v="116" actId="20577"/>
          <ac:graphicFrameMkLst>
            <pc:docMk/>
            <pc:sldMk cId="2643841819" sldId="644"/>
            <ac:graphicFrameMk id="3" creationId="{9484E1FE-7534-495E-863C-657A46F5E628}"/>
          </ac:graphicFrameMkLst>
        </pc:graphicFrameChg>
      </pc:sldChg>
      <pc:sldChg chg="addSp delSp modSp add mod modClrScheme modAnim chgLayout">
        <pc:chgData name="Renata Festa" userId="6f22df47-533b-4c2a-a3c1-7f9ad1d63e10" providerId="ADAL" clId="{7C36C7AD-2136-4B7C-9124-CE720D1C8896}" dt="2020-03-30T13:12:44.053" v="60"/>
        <pc:sldMkLst>
          <pc:docMk/>
          <pc:sldMk cId="3395117911" sldId="645"/>
        </pc:sldMkLst>
        <pc:spChg chg="mod">
          <ac:chgData name="Renata Festa" userId="6f22df47-533b-4c2a-a3c1-7f9ad1d63e10" providerId="ADAL" clId="{7C36C7AD-2136-4B7C-9124-CE720D1C8896}" dt="2020-03-30T13:12:21.727" v="57" actId="26606"/>
          <ac:spMkLst>
            <pc:docMk/>
            <pc:sldMk cId="3395117911" sldId="645"/>
            <ac:spMk id="2" creationId="{2747F69C-ED85-4A23-92FD-356CE23A65B2}"/>
          </ac:spMkLst>
        </pc:spChg>
        <pc:spChg chg="mod">
          <ac:chgData name="Renata Festa" userId="6f22df47-533b-4c2a-a3c1-7f9ad1d63e10" providerId="ADAL" clId="{7C36C7AD-2136-4B7C-9124-CE720D1C8896}" dt="2020-03-30T13:12:21.727" v="57" actId="26606"/>
          <ac:spMkLst>
            <pc:docMk/>
            <pc:sldMk cId="3395117911" sldId="645"/>
            <ac:spMk id="3" creationId="{AE501DC3-FDD0-40DD-9670-EB73AA413A4A}"/>
          </ac:spMkLst>
        </pc:spChg>
        <pc:spChg chg="add del mod">
          <ac:chgData name="Renata Festa" userId="6f22df47-533b-4c2a-a3c1-7f9ad1d63e10" providerId="ADAL" clId="{7C36C7AD-2136-4B7C-9124-CE720D1C8896}" dt="2020-03-30T13:12:21.727" v="57" actId="26606"/>
          <ac:spMkLst>
            <pc:docMk/>
            <pc:sldMk cId="3395117911" sldId="645"/>
            <ac:spMk id="4" creationId="{5EB80B8F-B306-45C2-A653-D53B1F0D83B8}"/>
          </ac:spMkLst>
        </pc:spChg>
        <pc:graphicFrameChg chg="add mod">
          <ac:chgData name="Renata Festa" userId="6f22df47-533b-4c2a-a3c1-7f9ad1d63e10" providerId="ADAL" clId="{7C36C7AD-2136-4B7C-9124-CE720D1C8896}" dt="2020-03-30T13:12:31.993" v="58" actId="12100"/>
          <ac:graphicFrameMkLst>
            <pc:docMk/>
            <pc:sldMk cId="3395117911" sldId="645"/>
            <ac:graphicFrameMk id="6" creationId="{42493476-350B-4CF2-9C0D-2863689827C7}"/>
          </ac:graphicFrameMkLst>
        </pc:graphicFrameChg>
      </pc:sldChg>
      <pc:sldChg chg="addSp delSp modSp add mod modClrScheme modAnim chgLayout">
        <pc:chgData name="Renata Festa" userId="6f22df47-533b-4c2a-a3c1-7f9ad1d63e10" providerId="ADAL" clId="{7C36C7AD-2136-4B7C-9124-CE720D1C8896}" dt="2020-03-30T13:13:59.882" v="74"/>
        <pc:sldMkLst>
          <pc:docMk/>
          <pc:sldMk cId="513960981" sldId="646"/>
        </pc:sldMkLst>
        <pc:spChg chg="mod">
          <ac:chgData name="Renata Festa" userId="6f22df47-533b-4c2a-a3c1-7f9ad1d63e10" providerId="ADAL" clId="{7C36C7AD-2136-4B7C-9124-CE720D1C8896}" dt="2020-03-30T13:13:42.977" v="71" actId="26606"/>
          <ac:spMkLst>
            <pc:docMk/>
            <pc:sldMk cId="513960981" sldId="646"/>
            <ac:spMk id="2" creationId="{2747F69C-ED85-4A23-92FD-356CE23A65B2}"/>
          </ac:spMkLst>
        </pc:spChg>
        <pc:spChg chg="del mod">
          <ac:chgData name="Renata Festa" userId="6f22df47-533b-4c2a-a3c1-7f9ad1d63e10" providerId="ADAL" clId="{7C36C7AD-2136-4B7C-9124-CE720D1C8896}" dt="2020-03-30T13:13:42.977" v="71" actId="26606"/>
          <ac:spMkLst>
            <pc:docMk/>
            <pc:sldMk cId="513960981" sldId="646"/>
            <ac:spMk id="3" creationId="{AE501DC3-FDD0-40DD-9670-EB73AA413A4A}"/>
          </ac:spMkLst>
        </pc:spChg>
        <pc:graphicFrameChg chg="add mod">
          <ac:chgData name="Renata Festa" userId="6f22df47-533b-4c2a-a3c1-7f9ad1d63e10" providerId="ADAL" clId="{7C36C7AD-2136-4B7C-9124-CE720D1C8896}" dt="2020-03-30T13:13:51.352" v="72" actId="12100"/>
          <ac:graphicFrameMkLst>
            <pc:docMk/>
            <pc:sldMk cId="513960981" sldId="646"/>
            <ac:graphicFrameMk id="5" creationId="{34C2B634-0490-4A71-B9E3-36618416FF46}"/>
          </ac:graphicFrameMkLst>
        </pc:graphicFrameChg>
      </pc:sldChg>
      <pc:sldChg chg="add del">
        <pc:chgData name="Renata Festa" userId="6f22df47-533b-4c2a-a3c1-7f9ad1d63e10" providerId="ADAL" clId="{7C36C7AD-2136-4B7C-9124-CE720D1C8896}" dt="2020-03-30T13:14:26.919" v="75" actId="47"/>
        <pc:sldMkLst>
          <pc:docMk/>
          <pc:sldMk cId="806867219" sldId="647"/>
        </pc:sldMkLst>
      </pc:sldChg>
      <pc:sldChg chg="addSp delSp modSp add mod modAnim">
        <pc:chgData name="Renata Festa" userId="6f22df47-533b-4c2a-a3c1-7f9ad1d63e10" providerId="ADAL" clId="{7C36C7AD-2136-4B7C-9124-CE720D1C8896}" dt="2020-03-30T13:20:54.981" v="184" actId="1036"/>
        <pc:sldMkLst>
          <pc:docMk/>
          <pc:sldMk cId="2147045182" sldId="647"/>
        </pc:sldMkLst>
        <pc:spChg chg="mod">
          <ac:chgData name="Renata Festa" userId="6f22df47-533b-4c2a-a3c1-7f9ad1d63e10" providerId="ADAL" clId="{7C36C7AD-2136-4B7C-9124-CE720D1C8896}" dt="2020-03-30T13:15:51.787" v="135"/>
          <ac:spMkLst>
            <pc:docMk/>
            <pc:sldMk cId="2147045182" sldId="647"/>
            <ac:spMk id="2" creationId="{2A99DE50-3870-4FD0-8E40-762A88A6F399}"/>
          </ac:spMkLst>
        </pc:spChg>
        <pc:spChg chg="add del mod">
          <ac:chgData name="Renata Festa" userId="6f22df47-533b-4c2a-a3c1-7f9ad1d63e10" providerId="ADAL" clId="{7C36C7AD-2136-4B7C-9124-CE720D1C8896}" dt="2020-03-30T13:17:49.215" v="146" actId="12084"/>
          <ac:spMkLst>
            <pc:docMk/>
            <pc:sldMk cId="2147045182" sldId="647"/>
            <ac:spMk id="4" creationId="{AE12F4A8-5AE0-4B80-A1DA-ED3CDDEB9A88}"/>
          </ac:spMkLst>
        </pc:spChg>
        <pc:spChg chg="add del mod">
          <ac:chgData name="Renata Festa" userId="6f22df47-533b-4c2a-a3c1-7f9ad1d63e10" providerId="ADAL" clId="{7C36C7AD-2136-4B7C-9124-CE720D1C8896}" dt="2020-03-30T13:19:30.604" v="171" actId="12084"/>
          <ac:spMkLst>
            <pc:docMk/>
            <pc:sldMk cId="2147045182" sldId="647"/>
            <ac:spMk id="9" creationId="{85095885-24EB-4337-B317-1B6EB8241970}"/>
          </ac:spMkLst>
        </pc:spChg>
        <pc:graphicFrameChg chg="add mod">
          <ac:chgData name="Renata Festa" userId="6f22df47-533b-4c2a-a3c1-7f9ad1d63e10" providerId="ADAL" clId="{7C36C7AD-2136-4B7C-9124-CE720D1C8896}" dt="2020-03-30T13:18:06.114" v="149" actId="14100"/>
          <ac:graphicFrameMkLst>
            <pc:docMk/>
            <pc:sldMk cId="2147045182" sldId="647"/>
            <ac:graphicFrameMk id="10" creationId="{D5EAC6A8-9722-4E31-8B79-B50329DB279B}"/>
          </ac:graphicFrameMkLst>
        </pc:graphicFrameChg>
        <pc:graphicFrameChg chg="add del mod">
          <ac:chgData name="Renata Festa" userId="6f22df47-533b-4c2a-a3c1-7f9ad1d63e10" providerId="ADAL" clId="{7C36C7AD-2136-4B7C-9124-CE720D1C8896}" dt="2020-03-30T13:19:39.629" v="172" actId="1076"/>
          <ac:graphicFrameMkLst>
            <pc:docMk/>
            <pc:sldMk cId="2147045182" sldId="647"/>
            <ac:graphicFrameMk id="11" creationId="{BB2A9627-6D4C-4BB6-8CDD-DF361F1B3158}"/>
          </ac:graphicFrameMkLst>
        </pc:graphicFrameChg>
        <pc:picChg chg="add mod">
          <ac:chgData name="Renata Festa" userId="6f22df47-533b-4c2a-a3c1-7f9ad1d63e10" providerId="ADAL" clId="{7C36C7AD-2136-4B7C-9124-CE720D1C8896}" dt="2020-03-30T13:18:09.686" v="150" actId="14100"/>
          <ac:picMkLst>
            <pc:docMk/>
            <pc:sldMk cId="2147045182" sldId="647"/>
            <ac:picMk id="5" creationId="{3ACCC232-D855-496E-921D-04B15B99824B}"/>
          </ac:picMkLst>
        </pc:picChg>
        <pc:picChg chg="add mod">
          <ac:chgData name="Renata Festa" userId="6f22df47-533b-4c2a-a3c1-7f9ad1d63e10" providerId="ADAL" clId="{7C36C7AD-2136-4B7C-9124-CE720D1C8896}" dt="2020-03-30T13:18:17" v="152" actId="14100"/>
          <ac:picMkLst>
            <pc:docMk/>
            <pc:sldMk cId="2147045182" sldId="647"/>
            <ac:picMk id="6" creationId="{D47F6E10-BF55-463D-B0D1-3405228B8608}"/>
          </ac:picMkLst>
        </pc:picChg>
        <pc:picChg chg="add mod">
          <ac:chgData name="Renata Festa" userId="6f22df47-533b-4c2a-a3c1-7f9ad1d63e10" providerId="ADAL" clId="{7C36C7AD-2136-4B7C-9124-CE720D1C8896}" dt="2020-03-30T13:20:54.981" v="184" actId="1036"/>
          <ac:picMkLst>
            <pc:docMk/>
            <pc:sldMk cId="2147045182" sldId="647"/>
            <ac:picMk id="7" creationId="{298917CB-7317-4964-958E-375D61944BC5}"/>
          </ac:picMkLst>
        </pc:picChg>
        <pc:picChg chg="add mod">
          <ac:chgData name="Renata Festa" userId="6f22df47-533b-4c2a-a3c1-7f9ad1d63e10" providerId="ADAL" clId="{7C36C7AD-2136-4B7C-9124-CE720D1C8896}" dt="2020-03-30T13:20:49.339" v="182" actId="1076"/>
          <ac:picMkLst>
            <pc:docMk/>
            <pc:sldMk cId="2147045182" sldId="647"/>
            <ac:picMk id="8" creationId="{D1D05198-17EC-49D9-B891-B9C9044BE6BF}"/>
          </ac:picMkLst>
        </pc:picChg>
      </pc:sldChg>
      <pc:sldChg chg="addSp delSp modSp add mod">
        <pc:chgData name="Renata Festa" userId="6f22df47-533b-4c2a-a3c1-7f9ad1d63e10" providerId="ADAL" clId="{7C36C7AD-2136-4B7C-9124-CE720D1C8896}" dt="2020-03-30T13:21:58.606" v="191" actId="1076"/>
        <pc:sldMkLst>
          <pc:docMk/>
          <pc:sldMk cId="2904492945" sldId="648"/>
        </pc:sldMkLst>
        <pc:spChg chg="mod">
          <ac:chgData name="Renata Festa" userId="6f22df47-533b-4c2a-a3c1-7f9ad1d63e10" providerId="ADAL" clId="{7C36C7AD-2136-4B7C-9124-CE720D1C8896}" dt="2020-03-30T13:21:15.216" v="185"/>
          <ac:spMkLst>
            <pc:docMk/>
            <pc:sldMk cId="2904492945" sldId="648"/>
            <ac:spMk id="2" creationId="{2A99DE50-3870-4FD0-8E40-762A88A6F399}"/>
          </ac:spMkLst>
        </pc:spChg>
        <pc:picChg chg="add del mod">
          <ac:chgData name="Renata Festa" userId="6f22df47-533b-4c2a-a3c1-7f9ad1d63e10" providerId="ADAL" clId="{7C36C7AD-2136-4B7C-9124-CE720D1C8896}" dt="2020-03-30T13:21:51.970" v="189" actId="478"/>
          <ac:picMkLst>
            <pc:docMk/>
            <pc:sldMk cId="2904492945" sldId="648"/>
            <ac:picMk id="4" creationId="{8F0408A7-DA45-45CE-B3AF-14F951544CA6}"/>
          </ac:picMkLst>
        </pc:picChg>
        <pc:picChg chg="add mod">
          <ac:chgData name="Renata Festa" userId="6f22df47-533b-4c2a-a3c1-7f9ad1d63e10" providerId="ADAL" clId="{7C36C7AD-2136-4B7C-9124-CE720D1C8896}" dt="2020-03-30T13:21:58.606" v="191" actId="1076"/>
          <ac:picMkLst>
            <pc:docMk/>
            <pc:sldMk cId="2904492945" sldId="648"/>
            <ac:picMk id="5" creationId="{3775BC2A-BE33-4A23-9C97-AC9C373838E9}"/>
          </ac:picMkLst>
        </pc:picChg>
      </pc:sldChg>
      <pc:sldChg chg="add del">
        <pc:chgData name="Renata Festa" userId="6f22df47-533b-4c2a-a3c1-7f9ad1d63e10" providerId="ADAL" clId="{7C36C7AD-2136-4B7C-9124-CE720D1C8896}" dt="2020-03-30T13:14:27.235" v="76" actId="47"/>
        <pc:sldMkLst>
          <pc:docMk/>
          <pc:sldMk cId="4086892456" sldId="648"/>
        </pc:sldMkLst>
      </pc:sldChg>
      <pc:sldChg chg="add del">
        <pc:chgData name="Renata Festa" userId="6f22df47-533b-4c2a-a3c1-7f9ad1d63e10" providerId="ADAL" clId="{7C36C7AD-2136-4B7C-9124-CE720D1C8896}" dt="2020-03-30T13:14:27.540" v="77" actId="47"/>
        <pc:sldMkLst>
          <pc:docMk/>
          <pc:sldMk cId="3539807716" sldId="649"/>
        </pc:sldMkLst>
      </pc:sldChg>
      <pc:sldChg chg="addSp modSp add mod modAnim modNotesTx">
        <pc:chgData name="Renata Festa" userId="6f22df47-533b-4c2a-a3c1-7f9ad1d63e10" providerId="ADAL" clId="{7C36C7AD-2136-4B7C-9124-CE720D1C8896}" dt="2020-03-30T13:23:21.828" v="205"/>
        <pc:sldMkLst>
          <pc:docMk/>
          <pc:sldMk cId="3734993957" sldId="649"/>
        </pc:sldMkLst>
        <pc:spChg chg="mod">
          <ac:chgData name="Renata Festa" userId="6f22df47-533b-4c2a-a3c1-7f9ad1d63e10" providerId="ADAL" clId="{7C36C7AD-2136-4B7C-9124-CE720D1C8896}" dt="2020-03-30T13:22:23.860" v="192"/>
          <ac:spMkLst>
            <pc:docMk/>
            <pc:sldMk cId="3734993957" sldId="649"/>
            <ac:spMk id="2" creationId="{2A99DE50-3870-4FD0-8E40-762A88A6F399}"/>
          </ac:spMkLst>
        </pc:spChg>
        <pc:picChg chg="add mod">
          <ac:chgData name="Renata Festa" userId="6f22df47-533b-4c2a-a3c1-7f9ad1d63e10" providerId="ADAL" clId="{7C36C7AD-2136-4B7C-9124-CE720D1C8896}" dt="2020-03-30T13:22:46.725" v="195" actId="1076"/>
          <ac:picMkLst>
            <pc:docMk/>
            <pc:sldMk cId="3734993957" sldId="649"/>
            <ac:picMk id="4" creationId="{342A64F0-44CE-462B-AF07-B84DD95C6CFB}"/>
          </ac:picMkLst>
        </pc:picChg>
        <pc:picChg chg="add mod">
          <ac:chgData name="Renata Festa" userId="6f22df47-533b-4c2a-a3c1-7f9ad1d63e10" providerId="ADAL" clId="{7C36C7AD-2136-4B7C-9124-CE720D1C8896}" dt="2020-03-30T13:22:54.820" v="199" actId="1076"/>
          <ac:picMkLst>
            <pc:docMk/>
            <pc:sldMk cId="3734993957" sldId="649"/>
            <ac:picMk id="5" creationId="{14064EE2-590E-4305-AF66-31E99D8DD2F3}"/>
          </ac:picMkLst>
        </pc:picChg>
      </pc:sldChg>
      <pc:sldChg chg="addSp modSp add mod">
        <pc:chgData name="Renata Festa" userId="6f22df47-533b-4c2a-a3c1-7f9ad1d63e10" providerId="ADAL" clId="{7C36C7AD-2136-4B7C-9124-CE720D1C8896}" dt="2020-03-30T13:24:03.165" v="208" actId="14100"/>
        <pc:sldMkLst>
          <pc:docMk/>
          <pc:sldMk cId="1920859442" sldId="650"/>
        </pc:sldMkLst>
        <pc:spChg chg="mod">
          <ac:chgData name="Renata Festa" userId="6f22df47-533b-4c2a-a3c1-7f9ad1d63e10" providerId="ADAL" clId="{7C36C7AD-2136-4B7C-9124-CE720D1C8896}" dt="2020-03-30T13:23:48.532" v="206"/>
          <ac:spMkLst>
            <pc:docMk/>
            <pc:sldMk cId="1920859442" sldId="650"/>
            <ac:spMk id="2" creationId="{2A99DE50-3870-4FD0-8E40-762A88A6F399}"/>
          </ac:spMkLst>
        </pc:spChg>
        <pc:picChg chg="add mod">
          <ac:chgData name="Renata Festa" userId="6f22df47-533b-4c2a-a3c1-7f9ad1d63e10" providerId="ADAL" clId="{7C36C7AD-2136-4B7C-9124-CE720D1C8896}" dt="2020-03-30T13:24:03.165" v="208" actId="14100"/>
          <ac:picMkLst>
            <pc:docMk/>
            <pc:sldMk cId="1920859442" sldId="650"/>
            <ac:picMk id="4" creationId="{9E9EB7E8-B366-49C7-A6FE-20E7361D3403}"/>
          </ac:picMkLst>
        </pc:picChg>
      </pc:sldChg>
      <pc:sldChg chg="add del">
        <pc:chgData name="Renata Festa" userId="6f22df47-533b-4c2a-a3c1-7f9ad1d63e10" providerId="ADAL" clId="{7C36C7AD-2136-4B7C-9124-CE720D1C8896}" dt="2020-03-30T13:14:27.886" v="78" actId="47"/>
        <pc:sldMkLst>
          <pc:docMk/>
          <pc:sldMk cId="2049499010" sldId="650"/>
        </pc:sldMkLst>
      </pc:sldChg>
      <pc:sldChg chg="add del">
        <pc:chgData name="Renata Festa" userId="6f22df47-533b-4c2a-a3c1-7f9ad1d63e10" providerId="ADAL" clId="{7C36C7AD-2136-4B7C-9124-CE720D1C8896}" dt="2020-03-30T13:14:28.238" v="79" actId="47"/>
        <pc:sldMkLst>
          <pc:docMk/>
          <pc:sldMk cId="1661145179" sldId="651"/>
        </pc:sldMkLst>
      </pc:sldChg>
      <pc:sldChg chg="addSp modSp add mod">
        <pc:chgData name="Renata Festa" userId="6f22df47-533b-4c2a-a3c1-7f9ad1d63e10" providerId="ADAL" clId="{7C36C7AD-2136-4B7C-9124-CE720D1C8896}" dt="2020-03-30T13:48:44.222" v="212" actId="1076"/>
        <pc:sldMkLst>
          <pc:docMk/>
          <pc:sldMk cId="2682938464" sldId="651"/>
        </pc:sldMkLst>
        <pc:spChg chg="mod">
          <ac:chgData name="Renata Festa" userId="6f22df47-533b-4c2a-a3c1-7f9ad1d63e10" providerId="ADAL" clId="{7C36C7AD-2136-4B7C-9124-CE720D1C8896}" dt="2020-03-30T13:48:32.178" v="209"/>
          <ac:spMkLst>
            <pc:docMk/>
            <pc:sldMk cId="2682938464" sldId="651"/>
            <ac:spMk id="2" creationId="{2A99DE50-3870-4FD0-8E40-762A88A6F399}"/>
          </ac:spMkLst>
        </pc:spChg>
        <pc:picChg chg="add mod">
          <ac:chgData name="Renata Festa" userId="6f22df47-533b-4c2a-a3c1-7f9ad1d63e10" providerId="ADAL" clId="{7C36C7AD-2136-4B7C-9124-CE720D1C8896}" dt="2020-03-30T13:48:44.222" v="212" actId="1076"/>
          <ac:picMkLst>
            <pc:docMk/>
            <pc:sldMk cId="2682938464" sldId="651"/>
            <ac:picMk id="4" creationId="{532B731F-72F8-4CF3-808D-4B1B52E2047E}"/>
          </ac:picMkLst>
        </pc:picChg>
      </pc:sldChg>
      <pc:sldChg chg="addSp delSp modSp add mod modAnim">
        <pc:chgData name="Renata Festa" userId="6f22df47-533b-4c2a-a3c1-7f9ad1d63e10" providerId="ADAL" clId="{7C36C7AD-2136-4B7C-9124-CE720D1C8896}" dt="2020-03-30T13:51:17.222" v="238"/>
        <pc:sldMkLst>
          <pc:docMk/>
          <pc:sldMk cId="4244268147" sldId="652"/>
        </pc:sldMkLst>
        <pc:spChg chg="mod">
          <ac:chgData name="Renata Festa" userId="6f22df47-533b-4c2a-a3c1-7f9ad1d63e10" providerId="ADAL" clId="{7C36C7AD-2136-4B7C-9124-CE720D1C8896}" dt="2020-03-30T13:49:42.701" v="213"/>
          <ac:spMkLst>
            <pc:docMk/>
            <pc:sldMk cId="4244268147" sldId="652"/>
            <ac:spMk id="2" creationId="{2A99DE50-3870-4FD0-8E40-762A88A6F399}"/>
          </ac:spMkLst>
        </pc:spChg>
        <pc:spChg chg="del mod">
          <ac:chgData name="Renata Festa" userId="6f22df47-533b-4c2a-a3c1-7f9ad1d63e10" providerId="ADAL" clId="{7C36C7AD-2136-4B7C-9124-CE720D1C8896}" dt="2020-03-30T13:51:04.066" v="235" actId="12084"/>
          <ac:spMkLst>
            <pc:docMk/>
            <pc:sldMk cId="4244268147" sldId="652"/>
            <ac:spMk id="3" creationId="{41FBD961-BF2E-4AC8-95CB-4D75CD209091}"/>
          </ac:spMkLst>
        </pc:spChg>
        <pc:graphicFrameChg chg="add mod">
          <ac:chgData name="Renata Festa" userId="6f22df47-533b-4c2a-a3c1-7f9ad1d63e10" providerId="ADAL" clId="{7C36C7AD-2136-4B7C-9124-CE720D1C8896}" dt="2020-03-30T13:51:04.066" v="235" actId="12084"/>
          <ac:graphicFrameMkLst>
            <pc:docMk/>
            <pc:sldMk cId="4244268147" sldId="652"/>
            <ac:graphicFrameMk id="5" creationId="{BD98BFF2-94F9-49E0-AF70-E5BAFDA94445}"/>
          </ac:graphicFrameMkLst>
        </pc:graphicFrameChg>
        <pc:picChg chg="add mod">
          <ac:chgData name="Renata Festa" userId="6f22df47-533b-4c2a-a3c1-7f9ad1d63e10" providerId="ADAL" clId="{7C36C7AD-2136-4B7C-9124-CE720D1C8896}" dt="2020-03-30T13:49:56.086" v="215" actId="1076"/>
          <ac:picMkLst>
            <pc:docMk/>
            <pc:sldMk cId="4244268147" sldId="652"/>
            <ac:picMk id="4" creationId="{B5B34619-16A5-4A4B-805D-66297A72E7FA}"/>
          </ac:picMkLst>
        </pc:picChg>
      </pc:sldChg>
      <pc:sldChg chg="addSp modSp add mod">
        <pc:chgData name="Renata Festa" userId="6f22df47-533b-4c2a-a3c1-7f9ad1d63e10" providerId="ADAL" clId="{7C36C7AD-2136-4B7C-9124-CE720D1C8896}" dt="2020-03-30T13:53:59.259" v="276" actId="1076"/>
        <pc:sldMkLst>
          <pc:docMk/>
          <pc:sldMk cId="3033619648" sldId="653"/>
        </pc:sldMkLst>
        <pc:spChg chg="mod">
          <ac:chgData name="Renata Festa" userId="6f22df47-533b-4c2a-a3c1-7f9ad1d63e10" providerId="ADAL" clId="{7C36C7AD-2136-4B7C-9124-CE720D1C8896}" dt="2020-03-30T13:53:15.600" v="269"/>
          <ac:spMkLst>
            <pc:docMk/>
            <pc:sldMk cId="3033619648" sldId="653"/>
            <ac:spMk id="2" creationId="{69F09152-2C69-42A4-B9E8-17C66374474F}"/>
          </ac:spMkLst>
        </pc:spChg>
        <pc:spChg chg="add mod">
          <ac:chgData name="Renata Festa" userId="6f22df47-533b-4c2a-a3c1-7f9ad1d63e10" providerId="ADAL" clId="{7C36C7AD-2136-4B7C-9124-CE720D1C8896}" dt="2020-03-30T13:53:39.011" v="273" actId="1076"/>
          <ac:spMkLst>
            <pc:docMk/>
            <pc:sldMk cId="3033619648" sldId="653"/>
            <ac:spMk id="5" creationId="{61DC19AA-6E4A-4840-A775-C596349863FC}"/>
          </ac:spMkLst>
        </pc:spChg>
        <pc:picChg chg="add mod">
          <ac:chgData name="Renata Festa" userId="6f22df47-533b-4c2a-a3c1-7f9ad1d63e10" providerId="ADAL" clId="{7C36C7AD-2136-4B7C-9124-CE720D1C8896}" dt="2020-03-30T13:53:59.259" v="276" actId="1076"/>
          <ac:picMkLst>
            <pc:docMk/>
            <pc:sldMk cId="3033619648" sldId="653"/>
            <ac:picMk id="4" creationId="{D1C9C352-678B-48F0-9F9D-99341035D2A7}"/>
          </ac:picMkLst>
        </pc:picChg>
      </pc:sldChg>
      <pc:sldChg chg="addSp delSp modSp add mod modAnim">
        <pc:chgData name="Renata Festa" userId="6f22df47-533b-4c2a-a3c1-7f9ad1d63e10" providerId="ADAL" clId="{7C36C7AD-2136-4B7C-9124-CE720D1C8896}" dt="2020-03-30T14:09:10.076" v="338" actId="1076"/>
        <pc:sldMkLst>
          <pc:docMk/>
          <pc:sldMk cId="3383849555" sldId="654"/>
        </pc:sldMkLst>
        <pc:spChg chg="mod">
          <ac:chgData name="Renata Festa" userId="6f22df47-533b-4c2a-a3c1-7f9ad1d63e10" providerId="ADAL" clId="{7C36C7AD-2136-4B7C-9124-CE720D1C8896}" dt="2020-03-30T14:03:48.269" v="279"/>
          <ac:spMkLst>
            <pc:docMk/>
            <pc:sldMk cId="3383849555" sldId="654"/>
            <ac:spMk id="2" creationId="{69F09152-2C69-42A4-B9E8-17C66374474F}"/>
          </ac:spMkLst>
        </pc:spChg>
        <pc:spChg chg="add del mod">
          <ac:chgData name="Renata Festa" userId="6f22df47-533b-4c2a-a3c1-7f9ad1d63e10" providerId="ADAL" clId="{7C36C7AD-2136-4B7C-9124-CE720D1C8896}" dt="2020-03-30T14:06:25.260" v="316" actId="12084"/>
          <ac:spMkLst>
            <pc:docMk/>
            <pc:sldMk cId="3383849555" sldId="654"/>
            <ac:spMk id="5" creationId="{7F2EF30A-8CBC-4E1B-BC24-BFBB91FB6C88}"/>
          </ac:spMkLst>
        </pc:spChg>
        <pc:spChg chg="add mod">
          <ac:chgData name="Renata Festa" userId="6f22df47-533b-4c2a-a3c1-7f9ad1d63e10" providerId="ADAL" clId="{7C36C7AD-2136-4B7C-9124-CE720D1C8896}" dt="2020-03-30T14:04:31.049" v="284" actId="1076"/>
          <ac:spMkLst>
            <pc:docMk/>
            <pc:sldMk cId="3383849555" sldId="654"/>
            <ac:spMk id="9" creationId="{C9CAA35B-2CEF-45B0-B134-99304CDD4612}"/>
          </ac:spMkLst>
        </pc:spChg>
        <pc:graphicFrameChg chg="add del mod">
          <ac:chgData name="Renata Festa" userId="6f22df47-533b-4c2a-a3c1-7f9ad1d63e10" providerId="ADAL" clId="{7C36C7AD-2136-4B7C-9124-CE720D1C8896}" dt="2020-03-30T14:05:51.648" v="307" actId="12084"/>
          <ac:graphicFrameMkLst>
            <pc:docMk/>
            <pc:sldMk cId="3383849555" sldId="654"/>
            <ac:graphicFrameMk id="10" creationId="{404B8E8B-21B1-44EF-B3C7-6D4CC3FC1542}"/>
          </ac:graphicFrameMkLst>
        </pc:graphicFrameChg>
        <pc:graphicFrameChg chg="add mod">
          <ac:chgData name="Renata Festa" userId="6f22df47-533b-4c2a-a3c1-7f9ad1d63e10" providerId="ADAL" clId="{7C36C7AD-2136-4B7C-9124-CE720D1C8896}" dt="2020-03-30T14:07:18.933" v="322" actId="14100"/>
          <ac:graphicFrameMkLst>
            <pc:docMk/>
            <pc:sldMk cId="3383849555" sldId="654"/>
            <ac:graphicFrameMk id="11" creationId="{C446714C-5FAA-4A7A-AAD7-50BCC417B290}"/>
          </ac:graphicFrameMkLst>
        </pc:graphicFrameChg>
        <pc:picChg chg="add del">
          <ac:chgData name="Renata Festa" userId="6f22df47-533b-4c2a-a3c1-7f9ad1d63e10" providerId="ADAL" clId="{7C36C7AD-2136-4B7C-9124-CE720D1C8896}" dt="2020-03-30T14:03:45.065" v="278"/>
          <ac:picMkLst>
            <pc:docMk/>
            <pc:sldMk cId="3383849555" sldId="654"/>
            <ac:picMk id="4" creationId="{F1C76492-7C72-4595-8C00-AAE879C7A798}"/>
          </ac:picMkLst>
        </pc:picChg>
        <pc:picChg chg="add mod">
          <ac:chgData name="Renata Festa" userId="6f22df47-533b-4c2a-a3c1-7f9ad1d63e10" providerId="ADAL" clId="{7C36C7AD-2136-4B7C-9124-CE720D1C8896}" dt="2020-03-30T14:04:06.984" v="282" actId="1076"/>
          <ac:picMkLst>
            <pc:docMk/>
            <pc:sldMk cId="3383849555" sldId="654"/>
            <ac:picMk id="6" creationId="{D3F290EA-7024-4EDA-8DE0-EAFCC2265B06}"/>
          </ac:picMkLst>
        </pc:picChg>
        <pc:picChg chg="add mod">
          <ac:chgData name="Renata Festa" userId="6f22df47-533b-4c2a-a3c1-7f9ad1d63e10" providerId="ADAL" clId="{7C36C7AD-2136-4B7C-9124-CE720D1C8896}" dt="2020-03-30T14:07:41.219" v="326" actId="1076"/>
          <ac:picMkLst>
            <pc:docMk/>
            <pc:sldMk cId="3383849555" sldId="654"/>
            <ac:picMk id="7" creationId="{E384CD1A-7469-4348-BF6D-949E765428C8}"/>
          </ac:picMkLst>
        </pc:picChg>
        <pc:picChg chg="add mod">
          <ac:chgData name="Renata Festa" userId="6f22df47-533b-4c2a-a3c1-7f9ad1d63e10" providerId="ADAL" clId="{7C36C7AD-2136-4B7C-9124-CE720D1C8896}" dt="2020-03-30T14:09:10.076" v="338" actId="1076"/>
          <ac:picMkLst>
            <pc:docMk/>
            <pc:sldMk cId="3383849555" sldId="654"/>
            <ac:picMk id="8" creationId="{B320CFA1-54F1-4B58-953C-3F66804D2557}"/>
          </ac:picMkLst>
        </pc:picChg>
      </pc:sldChg>
      <pc:sldChg chg="addSp delSp modSp add mod modClrScheme modAnim chgLayout">
        <pc:chgData name="Renata Festa" userId="6f22df47-533b-4c2a-a3c1-7f9ad1d63e10" providerId="ADAL" clId="{7C36C7AD-2136-4B7C-9124-CE720D1C8896}" dt="2020-03-30T14:14:02.659" v="425"/>
        <pc:sldMkLst>
          <pc:docMk/>
          <pc:sldMk cId="3088295784" sldId="655"/>
        </pc:sldMkLst>
        <pc:spChg chg="mod">
          <ac:chgData name="Renata Festa" userId="6f22df47-533b-4c2a-a3c1-7f9ad1d63e10" providerId="ADAL" clId="{7C36C7AD-2136-4B7C-9124-CE720D1C8896}" dt="2020-03-30T14:10:26.708" v="358" actId="26606"/>
          <ac:spMkLst>
            <pc:docMk/>
            <pc:sldMk cId="3088295784" sldId="655"/>
            <ac:spMk id="2" creationId="{69F09152-2C69-42A4-B9E8-17C66374474F}"/>
          </ac:spMkLst>
        </pc:spChg>
        <pc:spChg chg="add del mod">
          <ac:chgData name="Renata Festa" userId="6f22df47-533b-4c2a-a3c1-7f9ad1d63e10" providerId="ADAL" clId="{7C36C7AD-2136-4B7C-9124-CE720D1C8896}" dt="2020-03-30T14:10:53.741" v="363" actId="12084"/>
          <ac:spMkLst>
            <pc:docMk/>
            <pc:sldMk cId="3088295784" sldId="655"/>
            <ac:spMk id="3" creationId="{46E6FFA2-8044-48D1-99C3-5361F8BA9553}"/>
          </ac:spMkLst>
        </pc:spChg>
        <pc:spChg chg="add del mod">
          <ac:chgData name="Renata Festa" userId="6f22df47-533b-4c2a-a3c1-7f9ad1d63e10" providerId="ADAL" clId="{7C36C7AD-2136-4B7C-9124-CE720D1C8896}" dt="2020-03-30T14:10:20.224" v="352" actId="26606"/>
          <ac:spMkLst>
            <pc:docMk/>
            <pc:sldMk cId="3088295784" sldId="655"/>
            <ac:spMk id="10" creationId="{EC7A3F8E-BC48-469D-94B7-098111EFBF17}"/>
          </ac:spMkLst>
        </pc:spChg>
        <pc:spChg chg="add del mod">
          <ac:chgData name="Renata Festa" userId="6f22df47-533b-4c2a-a3c1-7f9ad1d63e10" providerId="ADAL" clId="{7C36C7AD-2136-4B7C-9124-CE720D1C8896}" dt="2020-03-30T14:10:26.708" v="358" actId="26606"/>
          <ac:spMkLst>
            <pc:docMk/>
            <pc:sldMk cId="3088295784" sldId="655"/>
            <ac:spMk id="16" creationId="{46E6FFA2-8044-48D1-99C3-5361F8BA9553}"/>
          </ac:spMkLst>
        </pc:spChg>
        <pc:graphicFrameChg chg="add mod">
          <ac:chgData name="Renata Festa" userId="6f22df47-533b-4c2a-a3c1-7f9ad1d63e10" providerId="ADAL" clId="{7C36C7AD-2136-4B7C-9124-CE720D1C8896}" dt="2020-03-30T14:12:30.784" v="409" actId="20577"/>
          <ac:graphicFrameMkLst>
            <pc:docMk/>
            <pc:sldMk cId="3088295784" sldId="655"/>
            <ac:graphicFrameMk id="4" creationId="{EA5387F8-BA10-4FB8-BE87-228B55D00AF3}"/>
          </ac:graphicFrameMkLst>
        </pc:graphicFrameChg>
        <pc:graphicFrameChg chg="add del mod">
          <ac:chgData name="Renata Festa" userId="6f22df47-533b-4c2a-a3c1-7f9ad1d63e10" providerId="ADAL" clId="{7C36C7AD-2136-4B7C-9124-CE720D1C8896}" dt="2020-03-30T14:10:20.224" v="352" actId="26606"/>
          <ac:graphicFrameMkLst>
            <pc:docMk/>
            <pc:sldMk cId="3088295784" sldId="655"/>
            <ac:graphicFrameMk id="5" creationId="{D587D176-75A2-49D4-A8A4-83A98ADF02E0}"/>
          </ac:graphicFrameMkLst>
        </pc:graphicFrameChg>
        <pc:graphicFrameChg chg="add del">
          <ac:chgData name="Renata Festa" userId="6f22df47-533b-4c2a-a3c1-7f9ad1d63e10" providerId="ADAL" clId="{7C36C7AD-2136-4B7C-9124-CE720D1C8896}" dt="2020-03-30T14:10:21.667" v="354" actId="26606"/>
          <ac:graphicFrameMkLst>
            <pc:docMk/>
            <pc:sldMk cId="3088295784" sldId="655"/>
            <ac:graphicFrameMk id="12" creationId="{5627CCA7-A733-4BDE-AFE8-179BD8F99A17}"/>
          </ac:graphicFrameMkLst>
        </pc:graphicFrameChg>
        <pc:graphicFrameChg chg="add del mod">
          <ac:chgData name="Renata Festa" userId="6f22df47-533b-4c2a-a3c1-7f9ad1d63e10" providerId="ADAL" clId="{7C36C7AD-2136-4B7C-9124-CE720D1C8896}" dt="2020-03-30T14:10:23.642" v="356" actId="26606"/>
          <ac:graphicFrameMkLst>
            <pc:docMk/>
            <pc:sldMk cId="3088295784" sldId="655"/>
            <ac:graphicFrameMk id="14" creationId="{BBC05545-41B7-4664-85CD-1CC3BFDABFA1}"/>
          </ac:graphicFrameMkLst>
        </pc:graphicFrameChg>
      </pc:sldChg>
      <pc:sldChg chg="addSp delSp modSp add mod modAnim">
        <pc:chgData name="Renata Festa" userId="6f22df47-533b-4c2a-a3c1-7f9ad1d63e10" providerId="ADAL" clId="{7C36C7AD-2136-4B7C-9124-CE720D1C8896}" dt="2020-03-30T14:14:18.979" v="427"/>
        <pc:sldMkLst>
          <pc:docMk/>
          <pc:sldMk cId="1452331603" sldId="656"/>
        </pc:sldMkLst>
        <pc:spChg chg="mod">
          <ac:chgData name="Renata Festa" userId="6f22df47-533b-4c2a-a3c1-7f9ad1d63e10" providerId="ADAL" clId="{7C36C7AD-2136-4B7C-9124-CE720D1C8896}" dt="2020-03-30T14:12:52.435" v="410"/>
          <ac:spMkLst>
            <pc:docMk/>
            <pc:sldMk cId="1452331603" sldId="656"/>
            <ac:spMk id="2" creationId="{69F09152-2C69-42A4-B9E8-17C66374474F}"/>
          </ac:spMkLst>
        </pc:spChg>
        <pc:spChg chg="del mod">
          <ac:chgData name="Renata Festa" userId="6f22df47-533b-4c2a-a3c1-7f9ad1d63e10" providerId="ADAL" clId="{7C36C7AD-2136-4B7C-9124-CE720D1C8896}" dt="2020-03-30T14:13:30.597" v="422" actId="12084"/>
          <ac:spMkLst>
            <pc:docMk/>
            <pc:sldMk cId="1452331603" sldId="656"/>
            <ac:spMk id="3" creationId="{46E6FFA2-8044-48D1-99C3-5361F8BA9553}"/>
          </ac:spMkLst>
        </pc:spChg>
        <pc:graphicFrameChg chg="add mod">
          <ac:chgData name="Renata Festa" userId="6f22df47-533b-4c2a-a3c1-7f9ad1d63e10" providerId="ADAL" clId="{7C36C7AD-2136-4B7C-9124-CE720D1C8896}" dt="2020-03-30T14:13:36.797" v="423" actId="12100"/>
          <ac:graphicFrameMkLst>
            <pc:docMk/>
            <pc:sldMk cId="1452331603" sldId="656"/>
            <ac:graphicFrameMk id="4" creationId="{C66C0D6E-D4B7-4C3C-81E4-169E7FF3D6EE}"/>
          </ac:graphicFrameMkLst>
        </pc:graphicFrameChg>
      </pc:sldChg>
      <pc:sldChg chg="addSp delSp modSp add mod modClrScheme modAnim chgLayout">
        <pc:chgData name="Renata Festa" userId="6f22df47-533b-4c2a-a3c1-7f9ad1d63e10" providerId="ADAL" clId="{7C36C7AD-2136-4B7C-9124-CE720D1C8896}" dt="2020-03-30T14:20:14.591" v="469" actId="403"/>
        <pc:sldMkLst>
          <pc:docMk/>
          <pc:sldMk cId="3749233841" sldId="657"/>
        </pc:sldMkLst>
        <pc:spChg chg="mod">
          <ac:chgData name="Renata Festa" userId="6f22df47-533b-4c2a-a3c1-7f9ad1d63e10" providerId="ADAL" clId="{7C36C7AD-2136-4B7C-9124-CE720D1C8896}" dt="2020-03-30T14:19:46.680" v="464" actId="26606"/>
          <ac:spMkLst>
            <pc:docMk/>
            <pc:sldMk cId="3749233841" sldId="657"/>
            <ac:spMk id="2" creationId="{69F09152-2C69-42A4-B9E8-17C66374474F}"/>
          </ac:spMkLst>
        </pc:spChg>
        <pc:spChg chg="del mod">
          <ac:chgData name="Renata Festa" userId="6f22df47-533b-4c2a-a3c1-7f9ad1d63e10" providerId="ADAL" clId="{7C36C7AD-2136-4B7C-9124-CE720D1C8896}" dt="2020-03-30T14:15:12.161" v="441" actId="12084"/>
          <ac:spMkLst>
            <pc:docMk/>
            <pc:sldMk cId="3749233841" sldId="657"/>
            <ac:spMk id="3" creationId="{46E6FFA2-8044-48D1-99C3-5361F8BA9553}"/>
          </ac:spMkLst>
        </pc:spChg>
        <pc:spChg chg="add del mod">
          <ac:chgData name="Renata Festa" userId="6f22df47-533b-4c2a-a3c1-7f9ad1d63e10" providerId="ADAL" clId="{7C36C7AD-2136-4B7C-9124-CE720D1C8896}" dt="2020-03-30T14:19:57.011" v="466" actId="478"/>
          <ac:spMkLst>
            <pc:docMk/>
            <pc:sldMk cId="3749233841" sldId="657"/>
            <ac:spMk id="9" creationId="{DB45AC63-085D-4724-B989-BE49FD7D32CB}"/>
          </ac:spMkLst>
        </pc:spChg>
        <pc:graphicFrameChg chg="add mod modGraphic">
          <ac:chgData name="Renata Festa" userId="6f22df47-533b-4c2a-a3c1-7f9ad1d63e10" providerId="ADAL" clId="{7C36C7AD-2136-4B7C-9124-CE720D1C8896}" dt="2020-03-30T14:20:14.591" v="469" actId="403"/>
          <ac:graphicFrameMkLst>
            <pc:docMk/>
            <pc:sldMk cId="3749233841" sldId="657"/>
            <ac:graphicFrameMk id="4" creationId="{6B7361B4-A2AD-4EB3-85A1-1B1ECCCBA46E}"/>
          </ac:graphicFrameMkLst>
        </pc:graphicFrameChg>
      </pc:sldChg>
      <pc:sldChg chg="addSp modSp add mod modAnim">
        <pc:chgData name="Renata Festa" userId="6f22df47-533b-4c2a-a3c1-7f9ad1d63e10" providerId="ADAL" clId="{7C36C7AD-2136-4B7C-9124-CE720D1C8896}" dt="2020-03-30T14:23:16.235" v="502" actId="1076"/>
        <pc:sldMkLst>
          <pc:docMk/>
          <pc:sldMk cId="1310352246" sldId="658"/>
        </pc:sldMkLst>
        <pc:spChg chg="mod">
          <ac:chgData name="Renata Festa" userId="6f22df47-533b-4c2a-a3c1-7f9ad1d63e10" providerId="ADAL" clId="{7C36C7AD-2136-4B7C-9124-CE720D1C8896}" dt="2020-03-30T14:21:14.280" v="484"/>
          <ac:spMkLst>
            <pc:docMk/>
            <pc:sldMk cId="1310352246" sldId="658"/>
            <ac:spMk id="2" creationId="{E34D12A7-88C6-43B5-BACE-63605D6AA2D4}"/>
          </ac:spMkLst>
        </pc:spChg>
        <pc:graphicFrameChg chg="add mod">
          <ac:chgData name="Renata Festa" userId="6f22df47-533b-4c2a-a3c1-7f9ad1d63e10" providerId="ADAL" clId="{7C36C7AD-2136-4B7C-9124-CE720D1C8896}" dt="2020-03-30T14:23:16.235" v="502" actId="1076"/>
          <ac:graphicFrameMkLst>
            <pc:docMk/>
            <pc:sldMk cId="1310352246" sldId="658"/>
            <ac:graphicFrameMk id="5" creationId="{DE7A6ED7-901B-420B-B5CF-16DB7C693AE1}"/>
          </ac:graphicFrameMkLst>
        </pc:graphicFrameChg>
        <pc:picChg chg="add mod">
          <ac:chgData name="Renata Festa" userId="6f22df47-533b-4c2a-a3c1-7f9ad1d63e10" providerId="ADAL" clId="{7C36C7AD-2136-4B7C-9124-CE720D1C8896}" dt="2020-03-30T14:22:27.430" v="497" actId="1076"/>
          <ac:picMkLst>
            <pc:docMk/>
            <pc:sldMk cId="1310352246" sldId="658"/>
            <ac:picMk id="4" creationId="{4D7250C3-03B1-4FD4-BDDD-8DB0BDA86E73}"/>
          </ac:picMkLst>
        </pc:picChg>
      </pc:sldChg>
      <pc:sldChg chg="add del">
        <pc:chgData name="Renata Festa" userId="6f22df47-533b-4c2a-a3c1-7f9ad1d63e10" providerId="ADAL" clId="{7C36C7AD-2136-4B7C-9124-CE720D1C8896}" dt="2020-03-30T14:20:33.381" v="470" actId="47"/>
        <pc:sldMkLst>
          <pc:docMk/>
          <pc:sldMk cId="2226368093" sldId="658"/>
        </pc:sldMkLst>
      </pc:sldChg>
      <pc:sldChg chg="addSp delSp modSp add mod modAnim">
        <pc:chgData name="Renata Festa" userId="6f22df47-533b-4c2a-a3c1-7f9ad1d63e10" providerId="ADAL" clId="{7C36C7AD-2136-4B7C-9124-CE720D1C8896}" dt="2020-03-30T14:24:51.606" v="520"/>
        <pc:sldMkLst>
          <pc:docMk/>
          <pc:sldMk cId="1201192788" sldId="659"/>
        </pc:sldMkLst>
        <pc:spChg chg="mod">
          <ac:chgData name="Renata Festa" userId="6f22df47-533b-4c2a-a3c1-7f9ad1d63e10" providerId="ADAL" clId="{7C36C7AD-2136-4B7C-9124-CE720D1C8896}" dt="2020-03-30T14:23:26.067" v="503"/>
          <ac:spMkLst>
            <pc:docMk/>
            <pc:sldMk cId="1201192788" sldId="659"/>
            <ac:spMk id="2" creationId="{E34D12A7-88C6-43B5-BACE-63605D6AA2D4}"/>
          </ac:spMkLst>
        </pc:spChg>
        <pc:spChg chg="add del mod">
          <ac:chgData name="Renata Festa" userId="6f22df47-533b-4c2a-a3c1-7f9ad1d63e10" providerId="ADAL" clId="{7C36C7AD-2136-4B7C-9124-CE720D1C8896}" dt="2020-03-30T14:24:38.703" v="517" actId="12084"/>
          <ac:spMkLst>
            <pc:docMk/>
            <pc:sldMk cId="1201192788" sldId="659"/>
            <ac:spMk id="3" creationId="{474730C4-8B3E-4012-A427-F717A866F17C}"/>
          </ac:spMkLst>
        </pc:spChg>
        <pc:graphicFrameChg chg="add del mod">
          <ac:chgData name="Renata Festa" userId="6f22df47-533b-4c2a-a3c1-7f9ad1d63e10" providerId="ADAL" clId="{7C36C7AD-2136-4B7C-9124-CE720D1C8896}" dt="2020-03-30T14:24:35.180" v="516" actId="12084"/>
          <ac:graphicFrameMkLst>
            <pc:docMk/>
            <pc:sldMk cId="1201192788" sldId="659"/>
            <ac:graphicFrameMk id="5" creationId="{6F5B788F-808B-4932-BEA6-25776DB55EB7}"/>
          </ac:graphicFrameMkLst>
        </pc:graphicFrameChg>
        <pc:graphicFrameChg chg="add mod">
          <ac:chgData name="Renata Festa" userId="6f22df47-533b-4c2a-a3c1-7f9ad1d63e10" providerId="ADAL" clId="{7C36C7AD-2136-4B7C-9124-CE720D1C8896}" dt="2020-03-30T14:24:45.933" v="518" actId="12100"/>
          <ac:graphicFrameMkLst>
            <pc:docMk/>
            <pc:sldMk cId="1201192788" sldId="659"/>
            <ac:graphicFrameMk id="6" creationId="{1ABAC8BC-DE77-41FD-A659-C064591DB77D}"/>
          </ac:graphicFrameMkLst>
        </pc:graphicFrameChg>
        <pc:picChg chg="add mod">
          <ac:chgData name="Renata Festa" userId="6f22df47-533b-4c2a-a3c1-7f9ad1d63e10" providerId="ADAL" clId="{7C36C7AD-2136-4B7C-9124-CE720D1C8896}" dt="2020-03-30T14:23:51.634" v="512" actId="1076"/>
          <ac:picMkLst>
            <pc:docMk/>
            <pc:sldMk cId="1201192788" sldId="659"/>
            <ac:picMk id="4" creationId="{FE6C95E4-1469-420E-B923-42C4D1EFCD98}"/>
          </ac:picMkLst>
        </pc:picChg>
      </pc:sldChg>
      <pc:sldChg chg="add del">
        <pc:chgData name="Renata Festa" userId="6f22df47-533b-4c2a-a3c1-7f9ad1d63e10" providerId="ADAL" clId="{7C36C7AD-2136-4B7C-9124-CE720D1C8896}" dt="2020-03-30T14:20:33.381" v="470" actId="47"/>
        <pc:sldMkLst>
          <pc:docMk/>
          <pc:sldMk cId="2702153141" sldId="659"/>
        </pc:sldMkLst>
      </pc:sldChg>
      <pc:sldChg chg="addSp modSp add mod">
        <pc:chgData name="Renata Festa" userId="6f22df47-533b-4c2a-a3c1-7f9ad1d63e10" providerId="ADAL" clId="{7C36C7AD-2136-4B7C-9124-CE720D1C8896}" dt="2020-03-30T14:25:57.333" v="536" actId="1035"/>
        <pc:sldMkLst>
          <pc:docMk/>
          <pc:sldMk cId="31603130" sldId="660"/>
        </pc:sldMkLst>
        <pc:spChg chg="mod">
          <ac:chgData name="Renata Festa" userId="6f22df47-533b-4c2a-a3c1-7f9ad1d63e10" providerId="ADAL" clId="{7C36C7AD-2136-4B7C-9124-CE720D1C8896}" dt="2020-03-30T14:25:05.684" v="521"/>
          <ac:spMkLst>
            <pc:docMk/>
            <pc:sldMk cId="31603130" sldId="660"/>
            <ac:spMk id="2" creationId="{E34D12A7-88C6-43B5-BACE-63605D6AA2D4}"/>
          </ac:spMkLst>
        </pc:spChg>
        <pc:graphicFrameChg chg="add mod modGraphic">
          <ac:chgData name="Renata Festa" userId="6f22df47-533b-4c2a-a3c1-7f9ad1d63e10" providerId="ADAL" clId="{7C36C7AD-2136-4B7C-9124-CE720D1C8896}" dt="2020-03-30T14:25:57.333" v="536" actId="1035"/>
          <ac:graphicFrameMkLst>
            <pc:docMk/>
            <pc:sldMk cId="31603130" sldId="660"/>
            <ac:graphicFrameMk id="4" creationId="{6E00B224-283A-4C22-9BB8-1C44B9EC4E18}"/>
          </ac:graphicFrameMkLst>
        </pc:graphicFrameChg>
      </pc:sldChg>
      <pc:sldChg chg="add del">
        <pc:chgData name="Renata Festa" userId="6f22df47-533b-4c2a-a3c1-7f9ad1d63e10" providerId="ADAL" clId="{7C36C7AD-2136-4B7C-9124-CE720D1C8896}" dt="2020-03-30T14:20:33.381" v="470" actId="47"/>
        <pc:sldMkLst>
          <pc:docMk/>
          <pc:sldMk cId="3565966252" sldId="660"/>
        </pc:sldMkLst>
      </pc:sldChg>
      <pc:sldChg chg="addSp modSp add mod">
        <pc:chgData name="Renata Festa" userId="6f22df47-533b-4c2a-a3c1-7f9ad1d63e10" providerId="ADAL" clId="{7C36C7AD-2136-4B7C-9124-CE720D1C8896}" dt="2020-03-30T14:26:41.155" v="546" actId="14100"/>
        <pc:sldMkLst>
          <pc:docMk/>
          <pc:sldMk cId="80066504" sldId="661"/>
        </pc:sldMkLst>
        <pc:spChg chg="mod">
          <ac:chgData name="Renata Festa" userId="6f22df47-533b-4c2a-a3c1-7f9ad1d63e10" providerId="ADAL" clId="{7C36C7AD-2136-4B7C-9124-CE720D1C8896}" dt="2020-03-30T14:26:12.173" v="537"/>
          <ac:spMkLst>
            <pc:docMk/>
            <pc:sldMk cId="80066504" sldId="661"/>
            <ac:spMk id="2" creationId="{E34D12A7-88C6-43B5-BACE-63605D6AA2D4}"/>
          </ac:spMkLst>
        </pc:spChg>
        <pc:graphicFrameChg chg="add mod modGraphic">
          <ac:chgData name="Renata Festa" userId="6f22df47-533b-4c2a-a3c1-7f9ad1d63e10" providerId="ADAL" clId="{7C36C7AD-2136-4B7C-9124-CE720D1C8896}" dt="2020-03-30T14:26:41.155" v="546" actId="14100"/>
          <ac:graphicFrameMkLst>
            <pc:docMk/>
            <pc:sldMk cId="80066504" sldId="661"/>
            <ac:graphicFrameMk id="4" creationId="{6F2D9B50-3367-46A4-8B0B-52C310CAB153}"/>
          </ac:graphicFrameMkLst>
        </pc:graphicFrameChg>
      </pc:sldChg>
      <pc:sldChg chg="addSp delSp modSp add mod modAnim">
        <pc:chgData name="Renata Festa" userId="6f22df47-533b-4c2a-a3c1-7f9ad1d63e10" providerId="ADAL" clId="{7C36C7AD-2136-4B7C-9124-CE720D1C8896}" dt="2020-03-30T14:28:29.061" v="568" actId="1076"/>
        <pc:sldMkLst>
          <pc:docMk/>
          <pc:sldMk cId="2724986010" sldId="662"/>
        </pc:sldMkLst>
        <pc:spChg chg="mod">
          <ac:chgData name="Renata Festa" userId="6f22df47-533b-4c2a-a3c1-7f9ad1d63e10" providerId="ADAL" clId="{7C36C7AD-2136-4B7C-9124-CE720D1C8896}" dt="2020-03-30T14:26:55.926" v="547"/>
          <ac:spMkLst>
            <pc:docMk/>
            <pc:sldMk cId="2724986010" sldId="662"/>
            <ac:spMk id="2" creationId="{E34D12A7-88C6-43B5-BACE-63605D6AA2D4}"/>
          </ac:spMkLst>
        </pc:spChg>
        <pc:spChg chg="del mod">
          <ac:chgData name="Renata Festa" userId="6f22df47-533b-4c2a-a3c1-7f9ad1d63e10" providerId="ADAL" clId="{7C36C7AD-2136-4B7C-9124-CE720D1C8896}" dt="2020-03-30T14:27:52.181" v="563" actId="12084"/>
          <ac:spMkLst>
            <pc:docMk/>
            <pc:sldMk cId="2724986010" sldId="662"/>
            <ac:spMk id="3" creationId="{474730C4-8B3E-4012-A427-F717A866F17C}"/>
          </ac:spMkLst>
        </pc:spChg>
        <pc:graphicFrameChg chg="add mod">
          <ac:chgData name="Renata Festa" userId="6f22df47-533b-4c2a-a3c1-7f9ad1d63e10" providerId="ADAL" clId="{7C36C7AD-2136-4B7C-9124-CE720D1C8896}" dt="2020-03-30T14:28:08.478" v="564" actId="12100"/>
          <ac:graphicFrameMkLst>
            <pc:docMk/>
            <pc:sldMk cId="2724986010" sldId="662"/>
            <ac:graphicFrameMk id="5" creationId="{7ED4E0AB-7DCC-4BFD-8A85-33A31E02F1F6}"/>
          </ac:graphicFrameMkLst>
        </pc:graphicFrameChg>
        <pc:picChg chg="add mod">
          <ac:chgData name="Renata Festa" userId="6f22df47-533b-4c2a-a3c1-7f9ad1d63e10" providerId="ADAL" clId="{7C36C7AD-2136-4B7C-9124-CE720D1C8896}" dt="2020-03-30T14:28:29.061" v="568" actId="1076"/>
          <ac:picMkLst>
            <pc:docMk/>
            <pc:sldMk cId="2724986010" sldId="662"/>
            <ac:picMk id="4" creationId="{3AC43AA5-C20C-419F-956B-3987159CB0CD}"/>
          </ac:picMkLst>
        </pc:picChg>
      </pc:sldChg>
      <pc:sldChg chg="addSp delSp modSp add mod modAnim">
        <pc:chgData name="Renata Festa" userId="6f22df47-533b-4c2a-a3c1-7f9ad1d63e10" providerId="ADAL" clId="{7C36C7AD-2136-4B7C-9124-CE720D1C8896}" dt="2020-03-30T14:34:33.695" v="616" actId="1076"/>
        <pc:sldMkLst>
          <pc:docMk/>
          <pc:sldMk cId="2166726321" sldId="663"/>
        </pc:sldMkLst>
        <pc:spChg chg="mod">
          <ac:chgData name="Renata Festa" userId="6f22df47-533b-4c2a-a3c1-7f9ad1d63e10" providerId="ADAL" clId="{7C36C7AD-2136-4B7C-9124-CE720D1C8896}" dt="2020-03-30T14:32:47.415" v="594"/>
          <ac:spMkLst>
            <pc:docMk/>
            <pc:sldMk cId="2166726321" sldId="663"/>
            <ac:spMk id="2" creationId="{9AC85EB0-4498-448F-85B2-3114977F77BE}"/>
          </ac:spMkLst>
        </pc:spChg>
        <pc:spChg chg="add del mod">
          <ac:chgData name="Renata Festa" userId="6f22df47-533b-4c2a-a3c1-7f9ad1d63e10" providerId="ADAL" clId="{7C36C7AD-2136-4B7C-9124-CE720D1C8896}" dt="2020-03-30T14:33:50.946" v="606" actId="478"/>
          <ac:spMkLst>
            <pc:docMk/>
            <pc:sldMk cId="2166726321" sldId="663"/>
            <ac:spMk id="9" creationId="{CB942B43-4FBA-4403-A3D9-EFAA90664814}"/>
          </ac:spMkLst>
        </pc:spChg>
        <pc:spChg chg="add del mod">
          <ac:chgData name="Renata Festa" userId="6f22df47-533b-4c2a-a3c1-7f9ad1d63e10" providerId="ADAL" clId="{7C36C7AD-2136-4B7C-9124-CE720D1C8896}" dt="2020-03-30T14:33:58.416" v="611" actId="478"/>
          <ac:spMkLst>
            <pc:docMk/>
            <pc:sldMk cId="2166726321" sldId="663"/>
            <ac:spMk id="10" creationId="{A11D0114-F55B-46B8-855E-8487B6D47CC3}"/>
          </ac:spMkLst>
        </pc:spChg>
        <pc:spChg chg="add del mod">
          <ac:chgData name="Renata Festa" userId="6f22df47-533b-4c2a-a3c1-7f9ad1d63e10" providerId="ADAL" clId="{7C36C7AD-2136-4B7C-9124-CE720D1C8896}" dt="2020-03-30T14:33:52.368" v="607" actId="478"/>
          <ac:spMkLst>
            <pc:docMk/>
            <pc:sldMk cId="2166726321" sldId="663"/>
            <ac:spMk id="11" creationId="{014A7A43-9A21-482F-8C1A-E81D88B15C3F}"/>
          </ac:spMkLst>
        </pc:spChg>
        <pc:spChg chg="add del mod">
          <ac:chgData name="Renata Festa" userId="6f22df47-533b-4c2a-a3c1-7f9ad1d63e10" providerId="ADAL" clId="{7C36C7AD-2136-4B7C-9124-CE720D1C8896}" dt="2020-03-30T14:33:57.269" v="610" actId="478"/>
          <ac:spMkLst>
            <pc:docMk/>
            <pc:sldMk cId="2166726321" sldId="663"/>
            <ac:spMk id="12" creationId="{B8AB8A51-0A6B-48EE-B425-633441A909F9}"/>
          </ac:spMkLst>
        </pc:spChg>
        <pc:picChg chg="add mod">
          <ac:chgData name="Renata Festa" userId="6f22df47-533b-4c2a-a3c1-7f9ad1d63e10" providerId="ADAL" clId="{7C36C7AD-2136-4B7C-9124-CE720D1C8896}" dt="2020-03-30T14:33:18.621" v="599" actId="14100"/>
          <ac:picMkLst>
            <pc:docMk/>
            <pc:sldMk cId="2166726321" sldId="663"/>
            <ac:picMk id="4" creationId="{A92633A8-BCDB-4F2D-83BA-9BE732178E8B}"/>
          </ac:picMkLst>
        </pc:picChg>
        <pc:picChg chg="add mod">
          <ac:chgData name="Renata Festa" userId="6f22df47-533b-4c2a-a3c1-7f9ad1d63e10" providerId="ADAL" clId="{7C36C7AD-2136-4B7C-9124-CE720D1C8896}" dt="2020-03-30T14:34:28.678" v="614" actId="1076"/>
          <ac:picMkLst>
            <pc:docMk/>
            <pc:sldMk cId="2166726321" sldId="663"/>
            <ac:picMk id="5" creationId="{2B6E2088-717F-4F0A-8C62-DE02470C5DAB}"/>
          </ac:picMkLst>
        </pc:picChg>
        <pc:picChg chg="add mod">
          <ac:chgData name="Renata Festa" userId="6f22df47-533b-4c2a-a3c1-7f9ad1d63e10" providerId="ADAL" clId="{7C36C7AD-2136-4B7C-9124-CE720D1C8896}" dt="2020-03-30T14:33:20.333" v="600" actId="14100"/>
          <ac:picMkLst>
            <pc:docMk/>
            <pc:sldMk cId="2166726321" sldId="663"/>
            <ac:picMk id="6" creationId="{61DA1644-BA4B-4311-8364-1FFC6E7B156D}"/>
          </ac:picMkLst>
        </pc:picChg>
        <pc:picChg chg="add mod">
          <ac:chgData name="Renata Festa" userId="6f22df47-533b-4c2a-a3c1-7f9ad1d63e10" providerId="ADAL" clId="{7C36C7AD-2136-4B7C-9124-CE720D1C8896}" dt="2020-03-30T14:34:33.695" v="616" actId="1076"/>
          <ac:picMkLst>
            <pc:docMk/>
            <pc:sldMk cId="2166726321" sldId="663"/>
            <ac:picMk id="7" creationId="{4D7D9AFA-634A-4608-BE93-7CF34987ED5B}"/>
          </ac:picMkLst>
        </pc:picChg>
        <pc:picChg chg="add del mod">
          <ac:chgData name="Renata Festa" userId="6f22df47-533b-4c2a-a3c1-7f9ad1d63e10" providerId="ADAL" clId="{7C36C7AD-2136-4B7C-9124-CE720D1C8896}" dt="2020-03-30T14:34:32.086" v="615" actId="1076"/>
          <ac:picMkLst>
            <pc:docMk/>
            <pc:sldMk cId="2166726321" sldId="663"/>
            <ac:picMk id="8" creationId="{DDBDFF27-B917-4E79-A03E-A11FAFEDBB22}"/>
          </ac:picMkLst>
        </pc:picChg>
      </pc:sldChg>
      <pc:sldChg chg="addSp delSp modSp add mod modClrScheme modAnim chgLayout">
        <pc:chgData name="Renata Festa" userId="6f22df47-533b-4c2a-a3c1-7f9ad1d63e10" providerId="ADAL" clId="{7C36C7AD-2136-4B7C-9124-CE720D1C8896}" dt="2020-03-30T14:38:38.074" v="652" actId="478"/>
        <pc:sldMkLst>
          <pc:docMk/>
          <pc:sldMk cId="3941472323" sldId="664"/>
        </pc:sldMkLst>
        <pc:spChg chg="mod">
          <ac:chgData name="Renata Festa" userId="6f22df47-533b-4c2a-a3c1-7f9ad1d63e10" providerId="ADAL" clId="{7C36C7AD-2136-4B7C-9124-CE720D1C8896}" dt="2020-03-30T14:36:26.097" v="642" actId="26606"/>
          <ac:spMkLst>
            <pc:docMk/>
            <pc:sldMk cId="3941472323" sldId="664"/>
            <ac:spMk id="2" creationId="{0802A2C1-5EED-4CF6-8BEF-943406275727}"/>
          </ac:spMkLst>
        </pc:spChg>
        <pc:spChg chg="del mod">
          <ac:chgData name="Renata Festa" userId="6f22df47-533b-4c2a-a3c1-7f9ad1d63e10" providerId="ADAL" clId="{7C36C7AD-2136-4B7C-9124-CE720D1C8896}" dt="2020-03-30T14:36:26.097" v="642" actId="26606"/>
          <ac:spMkLst>
            <pc:docMk/>
            <pc:sldMk cId="3941472323" sldId="664"/>
            <ac:spMk id="3" creationId="{E3AEADD1-9001-4D8D-B748-97B98F1920CF}"/>
          </ac:spMkLst>
        </pc:spChg>
        <pc:spChg chg="add del mod">
          <ac:chgData name="Renata Festa" userId="6f22df47-533b-4c2a-a3c1-7f9ad1d63e10" providerId="ADAL" clId="{7C36C7AD-2136-4B7C-9124-CE720D1C8896}" dt="2020-03-30T14:38:38.074" v="652" actId="478"/>
          <ac:spMkLst>
            <pc:docMk/>
            <pc:sldMk cId="3941472323" sldId="664"/>
            <ac:spMk id="10" creationId="{E90DDDDB-D629-4A5E-9F2C-C8147266C5C6}"/>
          </ac:spMkLst>
        </pc:spChg>
        <pc:graphicFrameChg chg="add mod">
          <ac:chgData name="Renata Festa" userId="6f22df47-533b-4c2a-a3c1-7f9ad1d63e10" providerId="ADAL" clId="{7C36C7AD-2136-4B7C-9124-CE720D1C8896}" dt="2020-03-30T14:38:22.902" v="651" actId="12100"/>
          <ac:graphicFrameMkLst>
            <pc:docMk/>
            <pc:sldMk cId="3941472323" sldId="664"/>
            <ac:graphicFrameMk id="5" creationId="{3C099FF4-09AF-437A-88CF-138C05E892A0}"/>
          </ac:graphicFrameMkLst>
        </pc:graphicFrameChg>
      </pc:sldChg>
      <pc:sldChg chg="add del">
        <pc:chgData name="Renata Festa" userId="6f22df47-533b-4c2a-a3c1-7f9ad1d63e10" providerId="ADAL" clId="{7C36C7AD-2136-4B7C-9124-CE720D1C8896}" dt="2020-03-30T14:34:50.870" v="617" actId="47"/>
        <pc:sldMkLst>
          <pc:docMk/>
          <pc:sldMk cId="3984108238" sldId="664"/>
        </pc:sldMkLst>
      </pc:sldChg>
      <pc:sldChg chg="add del">
        <pc:chgData name="Renata Festa" userId="6f22df47-533b-4c2a-a3c1-7f9ad1d63e10" providerId="ADAL" clId="{7C36C7AD-2136-4B7C-9124-CE720D1C8896}" dt="2020-03-30T14:34:50.870" v="617" actId="47"/>
        <pc:sldMkLst>
          <pc:docMk/>
          <pc:sldMk cId="686922496" sldId="665"/>
        </pc:sldMkLst>
      </pc:sldChg>
      <pc:sldChg chg="addSp delSp modSp add mod modAnim">
        <pc:chgData name="Renata Festa" userId="6f22df47-533b-4c2a-a3c1-7f9ad1d63e10" providerId="ADAL" clId="{7C36C7AD-2136-4B7C-9124-CE720D1C8896}" dt="2020-03-30T14:39:13.175" v="659"/>
        <pc:sldMkLst>
          <pc:docMk/>
          <pc:sldMk cId="2440299370" sldId="665"/>
        </pc:sldMkLst>
        <pc:spChg chg="mod">
          <ac:chgData name="Renata Festa" userId="6f22df47-533b-4c2a-a3c1-7f9ad1d63e10" providerId="ADAL" clId="{7C36C7AD-2136-4B7C-9124-CE720D1C8896}" dt="2020-03-30T14:38:45.801" v="653"/>
          <ac:spMkLst>
            <pc:docMk/>
            <pc:sldMk cId="2440299370" sldId="665"/>
            <ac:spMk id="2" creationId="{0802A2C1-5EED-4CF6-8BEF-943406275727}"/>
          </ac:spMkLst>
        </pc:spChg>
        <pc:spChg chg="del mod">
          <ac:chgData name="Renata Festa" userId="6f22df47-533b-4c2a-a3c1-7f9ad1d63e10" providerId="ADAL" clId="{7C36C7AD-2136-4B7C-9124-CE720D1C8896}" dt="2020-03-30T14:38:58.889" v="656" actId="12084"/>
          <ac:spMkLst>
            <pc:docMk/>
            <pc:sldMk cId="2440299370" sldId="665"/>
            <ac:spMk id="3" creationId="{E3AEADD1-9001-4D8D-B748-97B98F1920CF}"/>
          </ac:spMkLst>
        </pc:spChg>
        <pc:graphicFrameChg chg="add mod">
          <ac:chgData name="Renata Festa" userId="6f22df47-533b-4c2a-a3c1-7f9ad1d63e10" providerId="ADAL" clId="{7C36C7AD-2136-4B7C-9124-CE720D1C8896}" dt="2020-03-30T14:38:58.889" v="656" actId="12084"/>
          <ac:graphicFrameMkLst>
            <pc:docMk/>
            <pc:sldMk cId="2440299370" sldId="665"/>
            <ac:graphicFrameMk id="4" creationId="{C010948A-CA5F-4FF0-BE90-4036E70511A4}"/>
          </ac:graphicFrameMkLst>
        </pc:graphicFrameChg>
      </pc:sldChg>
      <pc:sldChg chg="addSp delSp modSp add mod modAnim">
        <pc:chgData name="Renata Festa" userId="6f22df47-533b-4c2a-a3c1-7f9ad1d63e10" providerId="ADAL" clId="{7C36C7AD-2136-4B7C-9124-CE720D1C8896}" dt="2020-03-30T14:41:08.805" v="677"/>
        <pc:sldMkLst>
          <pc:docMk/>
          <pc:sldMk cId="2375800544" sldId="666"/>
        </pc:sldMkLst>
        <pc:spChg chg="mod">
          <ac:chgData name="Renata Festa" userId="6f22df47-533b-4c2a-a3c1-7f9ad1d63e10" providerId="ADAL" clId="{7C36C7AD-2136-4B7C-9124-CE720D1C8896}" dt="2020-03-30T14:39:21.669" v="660"/>
          <ac:spMkLst>
            <pc:docMk/>
            <pc:sldMk cId="2375800544" sldId="666"/>
            <ac:spMk id="2" creationId="{0802A2C1-5EED-4CF6-8BEF-943406275727}"/>
          </ac:spMkLst>
        </pc:spChg>
        <pc:spChg chg="del mod">
          <ac:chgData name="Renata Festa" userId="6f22df47-533b-4c2a-a3c1-7f9ad1d63e10" providerId="ADAL" clId="{7C36C7AD-2136-4B7C-9124-CE720D1C8896}" dt="2020-03-30T14:40:07.620" v="667" actId="12084"/>
          <ac:spMkLst>
            <pc:docMk/>
            <pc:sldMk cId="2375800544" sldId="666"/>
            <ac:spMk id="3" creationId="{E3AEADD1-9001-4D8D-B748-97B98F1920CF}"/>
          </ac:spMkLst>
        </pc:spChg>
        <pc:graphicFrameChg chg="add mod">
          <ac:chgData name="Renata Festa" userId="6f22df47-533b-4c2a-a3c1-7f9ad1d63e10" providerId="ADAL" clId="{7C36C7AD-2136-4B7C-9124-CE720D1C8896}" dt="2020-03-30T14:40:50.634" v="674" actId="12090"/>
          <ac:graphicFrameMkLst>
            <pc:docMk/>
            <pc:sldMk cId="2375800544" sldId="666"/>
            <ac:graphicFrameMk id="4" creationId="{E1A9A53E-CA74-4AA2-9AC2-F71FC08FDEDD}"/>
          </ac:graphicFrameMkLst>
        </pc:graphicFrameChg>
      </pc:sldChg>
      <pc:sldChg chg="add del">
        <pc:chgData name="Renata Festa" userId="6f22df47-533b-4c2a-a3c1-7f9ad1d63e10" providerId="ADAL" clId="{7C36C7AD-2136-4B7C-9124-CE720D1C8896}" dt="2020-03-30T14:34:50.870" v="617" actId="47"/>
        <pc:sldMkLst>
          <pc:docMk/>
          <pc:sldMk cId="3271672701" sldId="666"/>
        </pc:sldMkLst>
      </pc:sldChg>
      <pc:sldChg chg="addSp delSp modSp add mod modAnim">
        <pc:chgData name="Renata Festa" userId="6f22df47-533b-4c2a-a3c1-7f9ad1d63e10" providerId="ADAL" clId="{7C36C7AD-2136-4B7C-9124-CE720D1C8896}" dt="2020-03-30T14:41:56.735" v="685"/>
        <pc:sldMkLst>
          <pc:docMk/>
          <pc:sldMk cId="3524499398" sldId="667"/>
        </pc:sldMkLst>
        <pc:spChg chg="mod">
          <ac:chgData name="Renata Festa" userId="6f22df47-533b-4c2a-a3c1-7f9ad1d63e10" providerId="ADAL" clId="{7C36C7AD-2136-4B7C-9124-CE720D1C8896}" dt="2020-03-30T14:41:23.165" v="678"/>
          <ac:spMkLst>
            <pc:docMk/>
            <pc:sldMk cId="3524499398" sldId="667"/>
            <ac:spMk id="2" creationId="{0802A2C1-5EED-4CF6-8BEF-943406275727}"/>
          </ac:spMkLst>
        </pc:spChg>
        <pc:spChg chg="del mod">
          <ac:chgData name="Renata Festa" userId="6f22df47-533b-4c2a-a3c1-7f9ad1d63e10" providerId="ADAL" clId="{7C36C7AD-2136-4B7C-9124-CE720D1C8896}" dt="2020-03-30T14:41:40.619" v="682" actId="12084"/>
          <ac:spMkLst>
            <pc:docMk/>
            <pc:sldMk cId="3524499398" sldId="667"/>
            <ac:spMk id="3" creationId="{E3AEADD1-9001-4D8D-B748-97B98F1920CF}"/>
          </ac:spMkLst>
        </pc:spChg>
        <pc:graphicFrameChg chg="add mod">
          <ac:chgData name="Renata Festa" userId="6f22df47-533b-4c2a-a3c1-7f9ad1d63e10" providerId="ADAL" clId="{7C36C7AD-2136-4B7C-9124-CE720D1C8896}" dt="2020-03-30T14:41:40.619" v="682" actId="12084"/>
          <ac:graphicFrameMkLst>
            <pc:docMk/>
            <pc:sldMk cId="3524499398" sldId="667"/>
            <ac:graphicFrameMk id="4" creationId="{714ACAEC-9E8B-4A03-9EED-D8B79A5F0FD9}"/>
          </ac:graphicFrameMkLst>
        </pc:graphicFrameChg>
      </pc:sldChg>
      <pc:sldChg chg="addSp delSp modSp add mod modAnim">
        <pc:chgData name="Renata Festa" userId="6f22df47-533b-4c2a-a3c1-7f9ad1d63e10" providerId="ADAL" clId="{7C36C7AD-2136-4B7C-9124-CE720D1C8896}" dt="2020-03-30T14:42:50.060" v="692"/>
        <pc:sldMkLst>
          <pc:docMk/>
          <pc:sldMk cId="887741324" sldId="668"/>
        </pc:sldMkLst>
        <pc:spChg chg="mod">
          <ac:chgData name="Renata Festa" userId="6f22df47-533b-4c2a-a3c1-7f9ad1d63e10" providerId="ADAL" clId="{7C36C7AD-2136-4B7C-9124-CE720D1C8896}" dt="2020-03-30T14:42:06.761" v="686"/>
          <ac:spMkLst>
            <pc:docMk/>
            <pc:sldMk cId="887741324" sldId="668"/>
            <ac:spMk id="2" creationId="{0802A2C1-5EED-4CF6-8BEF-943406275727}"/>
          </ac:spMkLst>
        </pc:spChg>
        <pc:spChg chg="del mod">
          <ac:chgData name="Renata Festa" userId="6f22df47-533b-4c2a-a3c1-7f9ad1d63e10" providerId="ADAL" clId="{7C36C7AD-2136-4B7C-9124-CE720D1C8896}" dt="2020-03-30T14:42:38.864" v="690" actId="12084"/>
          <ac:spMkLst>
            <pc:docMk/>
            <pc:sldMk cId="887741324" sldId="668"/>
            <ac:spMk id="3" creationId="{E3AEADD1-9001-4D8D-B748-97B98F1920CF}"/>
          </ac:spMkLst>
        </pc:spChg>
        <pc:graphicFrameChg chg="add mod">
          <ac:chgData name="Renata Festa" userId="6f22df47-533b-4c2a-a3c1-7f9ad1d63e10" providerId="ADAL" clId="{7C36C7AD-2136-4B7C-9124-CE720D1C8896}" dt="2020-03-30T14:42:38.864" v="690" actId="12084"/>
          <ac:graphicFrameMkLst>
            <pc:docMk/>
            <pc:sldMk cId="887741324" sldId="668"/>
            <ac:graphicFrameMk id="4" creationId="{7A64B84F-B65F-4A59-9DFF-E4023C06A7D4}"/>
          </ac:graphicFrameMkLst>
        </pc:graphicFrameChg>
      </pc:sldChg>
      <pc:sldChg chg="addSp modSp add">
        <pc:chgData name="Renata Festa" userId="6f22df47-533b-4c2a-a3c1-7f9ad1d63e10" providerId="ADAL" clId="{7C36C7AD-2136-4B7C-9124-CE720D1C8896}" dt="2020-03-30T14:44:04.295" v="699" actId="14100"/>
        <pc:sldMkLst>
          <pc:docMk/>
          <pc:sldMk cId="470837864" sldId="669"/>
        </pc:sldMkLst>
        <pc:spChg chg="mod">
          <ac:chgData name="Renata Festa" userId="6f22df47-533b-4c2a-a3c1-7f9ad1d63e10" providerId="ADAL" clId="{7C36C7AD-2136-4B7C-9124-CE720D1C8896}" dt="2020-03-30T14:43:18.083" v="693"/>
          <ac:spMkLst>
            <pc:docMk/>
            <pc:sldMk cId="470837864" sldId="669"/>
            <ac:spMk id="2" creationId="{0802A2C1-5EED-4CF6-8BEF-943406275727}"/>
          </ac:spMkLst>
        </pc:spChg>
        <pc:spChg chg="add mod">
          <ac:chgData name="Renata Festa" userId="6f22df47-533b-4c2a-a3c1-7f9ad1d63e10" providerId="ADAL" clId="{7C36C7AD-2136-4B7C-9124-CE720D1C8896}" dt="2020-03-30T14:44:04.295" v="699" actId="14100"/>
          <ac:spMkLst>
            <pc:docMk/>
            <pc:sldMk cId="470837864" sldId="669"/>
            <ac:spMk id="4" creationId="{357634A2-C334-4D38-84D5-60D3EC4347F3}"/>
          </ac:spMkLst>
        </pc:spChg>
        <pc:graphicFrameChg chg="add mod">
          <ac:chgData name="Renata Festa" userId="6f22df47-533b-4c2a-a3c1-7f9ad1d63e10" providerId="ADAL" clId="{7C36C7AD-2136-4B7C-9124-CE720D1C8896}" dt="2020-03-30T14:44:04.295" v="699" actId="14100"/>
          <ac:graphicFrameMkLst>
            <pc:docMk/>
            <pc:sldMk cId="470837864" sldId="669"/>
            <ac:graphicFrameMk id="5" creationId="{56A40BD8-D4C3-43A6-9C60-6217248992AD}"/>
          </ac:graphicFrameMkLst>
        </pc:graphicFrameChg>
      </pc:sldChg>
      <pc:sldChg chg="addSp delSp modSp add modAnim">
        <pc:chgData name="Renata Festa" userId="6f22df47-533b-4c2a-a3c1-7f9ad1d63e10" providerId="ADAL" clId="{7C36C7AD-2136-4B7C-9124-CE720D1C8896}" dt="2020-03-30T14:46:07.971" v="727"/>
        <pc:sldMkLst>
          <pc:docMk/>
          <pc:sldMk cId="399891416" sldId="670"/>
        </pc:sldMkLst>
        <pc:spChg chg="mod">
          <ac:chgData name="Renata Festa" userId="6f22df47-533b-4c2a-a3c1-7f9ad1d63e10" providerId="ADAL" clId="{7C36C7AD-2136-4B7C-9124-CE720D1C8896}" dt="2020-03-30T14:45:43.687" v="722"/>
          <ac:spMkLst>
            <pc:docMk/>
            <pc:sldMk cId="399891416" sldId="670"/>
            <ac:spMk id="2" creationId="{9B4B635F-F687-4B74-899D-5741B3D47B95}"/>
          </ac:spMkLst>
        </pc:spChg>
        <pc:spChg chg="del mod">
          <ac:chgData name="Renata Festa" userId="6f22df47-533b-4c2a-a3c1-7f9ad1d63e10" providerId="ADAL" clId="{7C36C7AD-2136-4B7C-9124-CE720D1C8896}" dt="2020-03-30T14:45:55.306" v="724" actId="12084"/>
          <ac:spMkLst>
            <pc:docMk/>
            <pc:sldMk cId="399891416" sldId="670"/>
            <ac:spMk id="3" creationId="{0FE392BA-4614-4509-9AB7-D05A2AD0B74C}"/>
          </ac:spMkLst>
        </pc:spChg>
        <pc:graphicFrameChg chg="add mod">
          <ac:chgData name="Renata Festa" userId="6f22df47-533b-4c2a-a3c1-7f9ad1d63e10" providerId="ADAL" clId="{7C36C7AD-2136-4B7C-9124-CE720D1C8896}" dt="2020-03-30T14:46:01.998" v="725" actId="12100"/>
          <ac:graphicFrameMkLst>
            <pc:docMk/>
            <pc:sldMk cId="399891416" sldId="670"/>
            <ac:graphicFrameMk id="4" creationId="{EC5DB4E3-48E3-4CC8-AFC4-EF6B9F6C959B}"/>
          </ac:graphicFrameMkLst>
        </pc:graphicFrameChg>
      </pc:sldChg>
      <pc:sldChg chg="addSp delSp modSp add mod modAnim">
        <pc:chgData name="Renata Festa" userId="6f22df47-533b-4c2a-a3c1-7f9ad1d63e10" providerId="ADAL" clId="{7C36C7AD-2136-4B7C-9124-CE720D1C8896}" dt="2020-03-30T14:47:01.485" v="742"/>
        <pc:sldMkLst>
          <pc:docMk/>
          <pc:sldMk cId="746601626" sldId="671"/>
        </pc:sldMkLst>
        <pc:spChg chg="mod">
          <ac:chgData name="Renata Festa" userId="6f22df47-533b-4c2a-a3c1-7f9ad1d63e10" providerId="ADAL" clId="{7C36C7AD-2136-4B7C-9124-CE720D1C8896}" dt="2020-03-30T14:46:20.053" v="728"/>
          <ac:spMkLst>
            <pc:docMk/>
            <pc:sldMk cId="746601626" sldId="671"/>
            <ac:spMk id="2" creationId="{9B4B635F-F687-4B74-899D-5741B3D47B95}"/>
          </ac:spMkLst>
        </pc:spChg>
        <pc:spChg chg="del mod">
          <ac:chgData name="Renata Festa" userId="6f22df47-533b-4c2a-a3c1-7f9ad1d63e10" providerId="ADAL" clId="{7C36C7AD-2136-4B7C-9124-CE720D1C8896}" dt="2020-03-30T14:46:47.270" v="739" actId="12084"/>
          <ac:spMkLst>
            <pc:docMk/>
            <pc:sldMk cId="746601626" sldId="671"/>
            <ac:spMk id="3" creationId="{0FE392BA-4614-4509-9AB7-D05A2AD0B74C}"/>
          </ac:spMkLst>
        </pc:spChg>
        <pc:graphicFrameChg chg="add mod">
          <ac:chgData name="Renata Festa" userId="6f22df47-533b-4c2a-a3c1-7f9ad1d63e10" providerId="ADAL" clId="{7C36C7AD-2136-4B7C-9124-CE720D1C8896}" dt="2020-03-30T14:46:47.270" v="739" actId="12084"/>
          <ac:graphicFrameMkLst>
            <pc:docMk/>
            <pc:sldMk cId="746601626" sldId="671"/>
            <ac:graphicFrameMk id="4" creationId="{D6E1570D-B47B-416F-A4B6-5B8579F2C28F}"/>
          </ac:graphicFrameMkLst>
        </pc:graphicFrameChg>
      </pc:sldChg>
      <pc:sldChg chg="addSp delSp modSp add modAnim">
        <pc:chgData name="Renata Festa" userId="6f22df47-533b-4c2a-a3c1-7f9ad1d63e10" providerId="ADAL" clId="{7C36C7AD-2136-4B7C-9124-CE720D1C8896}" dt="2020-03-30T14:47:37.488" v="748"/>
        <pc:sldMkLst>
          <pc:docMk/>
          <pc:sldMk cId="3579828806" sldId="672"/>
        </pc:sldMkLst>
        <pc:spChg chg="mod">
          <ac:chgData name="Renata Festa" userId="6f22df47-533b-4c2a-a3c1-7f9ad1d63e10" providerId="ADAL" clId="{7C36C7AD-2136-4B7C-9124-CE720D1C8896}" dt="2020-03-30T14:47:11.695" v="743"/>
          <ac:spMkLst>
            <pc:docMk/>
            <pc:sldMk cId="3579828806" sldId="672"/>
            <ac:spMk id="2" creationId="{9B4B635F-F687-4B74-899D-5741B3D47B95}"/>
          </ac:spMkLst>
        </pc:spChg>
        <pc:spChg chg="del mod">
          <ac:chgData name="Renata Festa" userId="6f22df47-533b-4c2a-a3c1-7f9ad1d63e10" providerId="ADAL" clId="{7C36C7AD-2136-4B7C-9124-CE720D1C8896}" dt="2020-03-30T14:47:22.783" v="745" actId="12084"/>
          <ac:spMkLst>
            <pc:docMk/>
            <pc:sldMk cId="3579828806" sldId="672"/>
            <ac:spMk id="3" creationId="{0FE392BA-4614-4509-9AB7-D05A2AD0B74C}"/>
          </ac:spMkLst>
        </pc:spChg>
        <pc:graphicFrameChg chg="add mod">
          <ac:chgData name="Renata Festa" userId="6f22df47-533b-4c2a-a3c1-7f9ad1d63e10" providerId="ADAL" clId="{7C36C7AD-2136-4B7C-9124-CE720D1C8896}" dt="2020-03-30T14:47:22.783" v="745" actId="12084"/>
          <ac:graphicFrameMkLst>
            <pc:docMk/>
            <pc:sldMk cId="3579828806" sldId="672"/>
            <ac:graphicFrameMk id="4" creationId="{127279D7-1651-4E95-802B-BB50DE0D437A}"/>
          </ac:graphicFrameMkLst>
        </pc:graphicFrameChg>
      </pc:sldChg>
      <pc:sldChg chg="addSp modSp add mod">
        <pc:chgData name="Renata Festa" userId="6f22df47-533b-4c2a-a3c1-7f9ad1d63e10" providerId="ADAL" clId="{7C36C7AD-2136-4B7C-9124-CE720D1C8896}" dt="2020-03-30T14:50:17.397" v="796" actId="20577"/>
        <pc:sldMkLst>
          <pc:docMk/>
          <pc:sldMk cId="3324324594" sldId="673"/>
        </pc:sldMkLst>
        <pc:spChg chg="mod">
          <ac:chgData name="Renata Festa" userId="6f22df47-533b-4c2a-a3c1-7f9ad1d63e10" providerId="ADAL" clId="{7C36C7AD-2136-4B7C-9124-CE720D1C8896}" dt="2020-03-30T14:50:17.397" v="796" actId="20577"/>
          <ac:spMkLst>
            <pc:docMk/>
            <pc:sldMk cId="3324324594" sldId="673"/>
            <ac:spMk id="2" creationId="{9B4B635F-F687-4B74-899D-5741B3D47B95}"/>
          </ac:spMkLst>
        </pc:spChg>
        <pc:graphicFrameChg chg="add mod modGraphic">
          <ac:chgData name="Renata Festa" userId="6f22df47-533b-4c2a-a3c1-7f9ad1d63e10" providerId="ADAL" clId="{7C36C7AD-2136-4B7C-9124-CE720D1C8896}" dt="2020-03-30T14:50:05.321" v="788" actId="14734"/>
          <ac:graphicFrameMkLst>
            <pc:docMk/>
            <pc:sldMk cId="3324324594" sldId="673"/>
            <ac:graphicFrameMk id="4" creationId="{5FD8D9C9-FB31-4D19-8C80-2ABFD9E35A71}"/>
          </ac:graphicFrameMkLst>
        </pc:graphicFrameChg>
      </pc:sldChg>
      <pc:sldChg chg="add del">
        <pc:chgData name="Renata Festa" userId="6f22df47-533b-4c2a-a3c1-7f9ad1d63e10" providerId="ADAL" clId="{7C36C7AD-2136-4B7C-9124-CE720D1C8896}" dt="2020-03-30T14:50:35.432" v="797" actId="47"/>
        <pc:sldMkLst>
          <pc:docMk/>
          <pc:sldMk cId="3811952846" sldId="674"/>
        </pc:sldMkLst>
      </pc:sldChg>
      <pc:sldChg chg="add del">
        <pc:chgData name="Renata Festa" userId="6f22df47-533b-4c2a-a3c1-7f9ad1d63e10" providerId="ADAL" clId="{7C36C7AD-2136-4B7C-9124-CE720D1C8896}" dt="2020-03-30T14:50:35.432" v="797" actId="47"/>
        <pc:sldMkLst>
          <pc:docMk/>
          <pc:sldMk cId="4017189574" sldId="675"/>
        </pc:sldMkLst>
      </pc:sldChg>
      <pc:sldChg chg="add del">
        <pc:chgData name="Renata Festa" userId="6f22df47-533b-4c2a-a3c1-7f9ad1d63e10" providerId="ADAL" clId="{7C36C7AD-2136-4B7C-9124-CE720D1C8896}" dt="2020-03-30T14:50:35.432" v="797" actId="47"/>
        <pc:sldMkLst>
          <pc:docMk/>
          <pc:sldMk cId="3247589526" sldId="676"/>
        </pc:sldMkLst>
      </pc:sldChg>
      <pc:sldChg chg="modSp add mod ord">
        <pc:chgData name="Renata Festa" userId="6f22df47-533b-4c2a-a3c1-7f9ad1d63e10" providerId="ADAL" clId="{7C36C7AD-2136-4B7C-9124-CE720D1C8896}" dt="2020-03-30T14:49:37.380" v="781" actId="14734"/>
        <pc:sldMkLst>
          <pc:docMk/>
          <pc:sldMk cId="574796639" sldId="677"/>
        </pc:sldMkLst>
        <pc:graphicFrameChg chg="mod modGraphic">
          <ac:chgData name="Renata Festa" userId="6f22df47-533b-4c2a-a3c1-7f9ad1d63e10" providerId="ADAL" clId="{7C36C7AD-2136-4B7C-9124-CE720D1C8896}" dt="2020-03-30T14:49:37.380" v="781" actId="14734"/>
          <ac:graphicFrameMkLst>
            <pc:docMk/>
            <pc:sldMk cId="574796639" sldId="677"/>
            <ac:graphicFrameMk id="4" creationId="{5FD8D9C9-FB31-4D19-8C80-2ABFD9E35A71}"/>
          </ac:graphicFrameMkLst>
        </pc:graphicFrameChg>
      </pc:sldChg>
    </pc:docChg>
  </pc:docChgLst>
  <pc:docChgLst>
    <pc:chgData name="Batuhan Yildiz" userId="90f344fc-4655-4923-aeaf-697bba59c1a7" providerId="ADAL" clId="{7C857736-4B89-4689-8BED-4BF2E7351BFA}"/>
    <pc:docChg chg="undo custSel modSld">
      <pc:chgData name="Batuhan Yildiz" userId="90f344fc-4655-4923-aeaf-697bba59c1a7" providerId="ADAL" clId="{7C857736-4B89-4689-8BED-4BF2E7351BFA}" dt="2020-05-01T01:38:05.559" v="56" actId="6549"/>
      <pc:docMkLst>
        <pc:docMk/>
      </pc:docMkLst>
      <pc:sldChg chg="mod modShow modNotesTx">
        <pc:chgData name="Batuhan Yildiz" userId="90f344fc-4655-4923-aeaf-697bba59c1a7" providerId="ADAL" clId="{7C857736-4B89-4689-8BED-4BF2E7351BFA}" dt="2020-05-01T01:32:15.926" v="13" actId="113"/>
        <pc:sldMkLst>
          <pc:docMk/>
          <pc:sldMk cId="670385602" sldId="567"/>
        </pc:sldMkLst>
      </pc:sldChg>
      <pc:sldChg chg="modNotesTx">
        <pc:chgData name="Batuhan Yildiz" userId="90f344fc-4655-4923-aeaf-697bba59c1a7" providerId="ADAL" clId="{7C857736-4B89-4689-8BED-4BF2E7351BFA}" dt="2020-05-01T01:38:05.559" v="56" actId="6549"/>
        <pc:sldMkLst>
          <pc:docMk/>
          <pc:sldMk cId="2401107922" sldId="593"/>
        </pc:sldMkLst>
      </pc:sldChg>
    </pc:docChg>
  </pc:docChgLst>
  <pc:docChgLst>
    <pc:chgData name="Batuhan Yildiz" userId="90f344fc-4655-4923-aeaf-697bba59c1a7" providerId="ADAL" clId="{B7F01DC7-3D8F-4D5A-BE48-F82FA8F0723A}"/>
    <pc:docChg chg="undo custSel delSld modSld modSection">
      <pc:chgData name="Batuhan Yildiz" userId="90f344fc-4655-4923-aeaf-697bba59c1a7" providerId="ADAL" clId="{B7F01DC7-3D8F-4D5A-BE48-F82FA8F0723A}" dt="2020-05-19T21:36:00.307" v="696" actId="12385"/>
      <pc:docMkLst>
        <pc:docMk/>
      </pc:docMkLst>
      <pc:sldChg chg="addSp delSp modSp mod modClrScheme chgLayout">
        <pc:chgData name="Batuhan Yildiz" userId="90f344fc-4655-4923-aeaf-697bba59c1a7" providerId="ADAL" clId="{B7F01DC7-3D8F-4D5A-BE48-F82FA8F0723A}" dt="2020-05-19T21:33:28.933" v="680" actId="478"/>
        <pc:sldMkLst>
          <pc:docMk/>
          <pc:sldMk cId="3847515031" sldId="580"/>
        </pc:sldMkLst>
        <pc:spChg chg="mod ord">
          <ac:chgData name="Batuhan Yildiz" userId="90f344fc-4655-4923-aeaf-697bba59c1a7" providerId="ADAL" clId="{B7F01DC7-3D8F-4D5A-BE48-F82FA8F0723A}" dt="2020-05-19T21:32:21.317" v="670" actId="700"/>
          <ac:spMkLst>
            <pc:docMk/>
            <pc:sldMk cId="3847515031" sldId="580"/>
            <ac:spMk id="2" creationId="{EB67312A-9819-43C6-8D84-D9136E6CFFCC}"/>
          </ac:spMkLst>
        </pc:spChg>
        <pc:spChg chg="add del mod ord">
          <ac:chgData name="Batuhan Yildiz" userId="90f344fc-4655-4923-aeaf-697bba59c1a7" providerId="ADAL" clId="{B7F01DC7-3D8F-4D5A-BE48-F82FA8F0723A}" dt="2020-05-19T21:33:28.933" v="680" actId="478"/>
          <ac:spMkLst>
            <pc:docMk/>
            <pc:sldMk cId="3847515031" sldId="580"/>
            <ac:spMk id="3" creationId="{D5EA5715-85D8-4A29-A5C3-77B02D515BDA}"/>
          </ac:spMkLst>
        </pc:spChg>
        <pc:spChg chg="mod">
          <ac:chgData name="Batuhan Yildiz" userId="90f344fc-4655-4923-aeaf-697bba59c1a7" providerId="ADAL" clId="{B7F01DC7-3D8F-4D5A-BE48-F82FA8F0723A}" dt="2020-05-19T21:33:14.867" v="679" actId="14100"/>
          <ac:spMkLst>
            <pc:docMk/>
            <pc:sldMk cId="3847515031" sldId="580"/>
            <ac:spMk id="7" creationId="{2A304515-80CC-430D-B41C-497177A9351C}"/>
          </ac:spMkLst>
        </pc:spChg>
        <pc:picChg chg="mod">
          <ac:chgData name="Batuhan Yildiz" userId="90f344fc-4655-4923-aeaf-697bba59c1a7" providerId="ADAL" clId="{B7F01DC7-3D8F-4D5A-BE48-F82FA8F0723A}" dt="2020-05-19T21:32:35.215" v="672" actId="14100"/>
          <ac:picMkLst>
            <pc:docMk/>
            <pc:sldMk cId="3847515031" sldId="580"/>
            <ac:picMk id="5" creationId="{8468691C-61FA-4134-AD5A-8EBDF4634B4D}"/>
          </ac:picMkLst>
        </pc:picChg>
        <pc:picChg chg="mod">
          <ac:chgData name="Batuhan Yildiz" userId="90f344fc-4655-4923-aeaf-697bba59c1a7" providerId="ADAL" clId="{B7F01DC7-3D8F-4D5A-BE48-F82FA8F0723A}" dt="2020-05-19T21:32:46.070" v="674" actId="14100"/>
          <ac:picMkLst>
            <pc:docMk/>
            <pc:sldMk cId="3847515031" sldId="580"/>
            <ac:picMk id="6" creationId="{0377BE43-61F4-4FF9-96F3-46C11BB38120}"/>
          </ac:picMkLst>
        </pc:picChg>
      </pc:sldChg>
      <pc:sldChg chg="modNotesTx">
        <pc:chgData name="Batuhan Yildiz" userId="90f344fc-4655-4923-aeaf-697bba59c1a7" providerId="ADAL" clId="{B7F01DC7-3D8F-4D5A-BE48-F82FA8F0723A}" dt="2020-05-19T20:42:11.409" v="605" actId="6549"/>
        <pc:sldMkLst>
          <pc:docMk/>
          <pc:sldMk cId="990636349" sldId="601"/>
        </pc:sldMkLst>
      </pc:sldChg>
      <pc:sldChg chg="modSp mod">
        <pc:chgData name="Batuhan Yildiz" userId="90f344fc-4655-4923-aeaf-697bba59c1a7" providerId="ADAL" clId="{B7F01DC7-3D8F-4D5A-BE48-F82FA8F0723A}" dt="2020-05-19T21:25:04.576" v="609" actId="255"/>
        <pc:sldMkLst>
          <pc:docMk/>
          <pc:sldMk cId="3395117911" sldId="645"/>
        </pc:sldMkLst>
        <pc:graphicFrameChg chg="mod">
          <ac:chgData name="Batuhan Yildiz" userId="90f344fc-4655-4923-aeaf-697bba59c1a7" providerId="ADAL" clId="{B7F01DC7-3D8F-4D5A-BE48-F82FA8F0723A}" dt="2020-05-19T21:25:04.576" v="609" actId="255"/>
          <ac:graphicFrameMkLst>
            <pc:docMk/>
            <pc:sldMk cId="3395117911" sldId="645"/>
            <ac:graphicFrameMk id="6" creationId="{42493476-350B-4CF2-9C0D-2863689827C7}"/>
          </ac:graphicFrameMkLst>
        </pc:graphicFrameChg>
      </pc:sldChg>
      <pc:sldChg chg="modSp">
        <pc:chgData name="Batuhan Yildiz" userId="90f344fc-4655-4923-aeaf-697bba59c1a7" providerId="ADAL" clId="{B7F01DC7-3D8F-4D5A-BE48-F82FA8F0723A}" dt="2020-05-19T21:24:53.335" v="608" actId="255"/>
        <pc:sldMkLst>
          <pc:docMk/>
          <pc:sldMk cId="513960981" sldId="646"/>
        </pc:sldMkLst>
        <pc:graphicFrameChg chg="mod">
          <ac:chgData name="Batuhan Yildiz" userId="90f344fc-4655-4923-aeaf-697bba59c1a7" providerId="ADAL" clId="{B7F01DC7-3D8F-4D5A-BE48-F82FA8F0723A}" dt="2020-05-19T21:24:53.335" v="608" actId="255"/>
          <ac:graphicFrameMkLst>
            <pc:docMk/>
            <pc:sldMk cId="513960981" sldId="646"/>
            <ac:graphicFrameMk id="5" creationId="{34C2B634-0490-4A71-B9E3-36618416FF46}"/>
          </ac:graphicFrameMkLst>
        </pc:graphicFrameChg>
      </pc:sldChg>
      <pc:sldChg chg="modSp mod modNotesTx">
        <pc:chgData name="Batuhan Yildiz" userId="90f344fc-4655-4923-aeaf-697bba59c1a7" providerId="ADAL" clId="{B7F01DC7-3D8F-4D5A-BE48-F82FA8F0723A}" dt="2020-05-19T21:25:24.187" v="610" actId="6549"/>
        <pc:sldMkLst>
          <pc:docMk/>
          <pc:sldMk cId="2147045182" sldId="647"/>
        </pc:sldMkLst>
        <pc:spChg chg="mod">
          <ac:chgData name="Batuhan Yildiz" userId="90f344fc-4655-4923-aeaf-697bba59c1a7" providerId="ADAL" clId="{B7F01DC7-3D8F-4D5A-BE48-F82FA8F0723A}" dt="2020-05-19T21:25:24.187" v="610" actId="6549"/>
          <ac:spMkLst>
            <pc:docMk/>
            <pc:sldMk cId="2147045182" sldId="647"/>
            <ac:spMk id="2" creationId="{2A99DE50-3870-4FD0-8E40-762A88A6F399}"/>
          </ac:spMkLst>
        </pc:spChg>
        <pc:picChg chg="mod">
          <ac:chgData name="Batuhan Yildiz" userId="90f344fc-4655-4923-aeaf-697bba59c1a7" providerId="ADAL" clId="{B7F01DC7-3D8F-4D5A-BE48-F82FA8F0723A}" dt="2020-05-19T18:10:33.669" v="5" actId="1076"/>
          <ac:picMkLst>
            <pc:docMk/>
            <pc:sldMk cId="2147045182" sldId="647"/>
            <ac:picMk id="5" creationId="{3ACCC232-D855-496E-921D-04B15B99824B}"/>
          </ac:picMkLst>
        </pc:picChg>
      </pc:sldChg>
      <pc:sldChg chg="modSp del mod">
        <pc:chgData name="Batuhan Yildiz" userId="90f344fc-4655-4923-aeaf-697bba59c1a7" providerId="ADAL" clId="{B7F01DC7-3D8F-4D5A-BE48-F82FA8F0723A}" dt="2020-05-19T18:56:55.718" v="11" actId="47"/>
        <pc:sldMkLst>
          <pc:docMk/>
          <pc:sldMk cId="2904492945" sldId="648"/>
        </pc:sldMkLst>
        <pc:picChg chg="mod">
          <ac:chgData name="Batuhan Yildiz" userId="90f344fc-4655-4923-aeaf-697bba59c1a7" providerId="ADAL" clId="{B7F01DC7-3D8F-4D5A-BE48-F82FA8F0723A}" dt="2020-05-19T18:51:35.495" v="10" actId="1076"/>
          <ac:picMkLst>
            <pc:docMk/>
            <pc:sldMk cId="2904492945" sldId="648"/>
            <ac:picMk id="5" creationId="{3775BC2A-BE33-4A23-9C97-AC9C373838E9}"/>
          </ac:picMkLst>
        </pc:picChg>
      </pc:sldChg>
      <pc:sldChg chg="addSp delSp modSp mod chgLayout">
        <pc:chgData name="Batuhan Yildiz" userId="90f344fc-4655-4923-aeaf-697bba59c1a7" providerId="ADAL" clId="{B7F01DC7-3D8F-4D5A-BE48-F82FA8F0723A}" dt="2020-05-19T19:06:15.105" v="142" actId="14100"/>
        <pc:sldMkLst>
          <pc:docMk/>
          <pc:sldMk cId="3734993957" sldId="649"/>
        </pc:sldMkLst>
        <pc:spChg chg="mod ord">
          <ac:chgData name="Batuhan Yildiz" userId="90f344fc-4655-4923-aeaf-697bba59c1a7" providerId="ADAL" clId="{B7F01DC7-3D8F-4D5A-BE48-F82FA8F0723A}" dt="2020-05-19T18:59:57.314" v="13" actId="700"/>
          <ac:spMkLst>
            <pc:docMk/>
            <pc:sldMk cId="3734993957" sldId="649"/>
            <ac:spMk id="2" creationId="{2A99DE50-3870-4FD0-8E40-762A88A6F399}"/>
          </ac:spMkLst>
        </pc:spChg>
        <pc:spChg chg="add del mod ord">
          <ac:chgData name="Batuhan Yildiz" userId="90f344fc-4655-4923-aeaf-697bba59c1a7" providerId="ADAL" clId="{B7F01DC7-3D8F-4D5A-BE48-F82FA8F0723A}" dt="2020-05-19T19:05:42.346" v="135" actId="12084"/>
          <ac:spMkLst>
            <pc:docMk/>
            <pc:sldMk cId="3734993957" sldId="649"/>
            <ac:spMk id="3" creationId="{5E455EE0-2CDD-4BD1-9236-A6242FA59C99}"/>
          </ac:spMkLst>
        </pc:spChg>
        <pc:graphicFrameChg chg="add mod">
          <ac:chgData name="Batuhan Yildiz" userId="90f344fc-4655-4923-aeaf-697bba59c1a7" providerId="ADAL" clId="{B7F01DC7-3D8F-4D5A-BE48-F82FA8F0723A}" dt="2020-05-19T19:06:15.105" v="142" actId="14100"/>
          <ac:graphicFrameMkLst>
            <pc:docMk/>
            <pc:sldMk cId="3734993957" sldId="649"/>
            <ac:graphicFrameMk id="6" creationId="{B187D2B8-00D1-46F0-B160-E03EE7009F12}"/>
          </ac:graphicFrameMkLst>
        </pc:graphicFrameChg>
        <pc:picChg chg="mod">
          <ac:chgData name="Batuhan Yildiz" userId="90f344fc-4655-4923-aeaf-697bba59c1a7" providerId="ADAL" clId="{B7F01DC7-3D8F-4D5A-BE48-F82FA8F0723A}" dt="2020-05-19T19:06:11.579" v="141" actId="1076"/>
          <ac:picMkLst>
            <pc:docMk/>
            <pc:sldMk cId="3734993957" sldId="649"/>
            <ac:picMk id="4" creationId="{342A64F0-44CE-462B-AF07-B84DD95C6CFB}"/>
          </ac:picMkLst>
        </pc:picChg>
        <pc:picChg chg="mod">
          <ac:chgData name="Batuhan Yildiz" userId="90f344fc-4655-4923-aeaf-697bba59c1a7" providerId="ADAL" clId="{B7F01DC7-3D8F-4D5A-BE48-F82FA8F0723A}" dt="2020-05-19T19:00:08.145" v="16" actId="1076"/>
          <ac:picMkLst>
            <pc:docMk/>
            <pc:sldMk cId="3734993957" sldId="649"/>
            <ac:picMk id="5" creationId="{14064EE2-590E-4305-AF66-31E99D8DD2F3}"/>
          </ac:picMkLst>
        </pc:picChg>
      </pc:sldChg>
      <pc:sldChg chg="addSp delSp modSp mod chgLayout">
        <pc:chgData name="Batuhan Yildiz" userId="90f344fc-4655-4923-aeaf-697bba59c1a7" providerId="ADAL" clId="{B7F01DC7-3D8F-4D5A-BE48-F82FA8F0723A}" dt="2020-05-19T19:14:47.426" v="357" actId="313"/>
        <pc:sldMkLst>
          <pc:docMk/>
          <pc:sldMk cId="1920859442" sldId="650"/>
        </pc:sldMkLst>
        <pc:spChg chg="mod ord">
          <ac:chgData name="Batuhan Yildiz" userId="90f344fc-4655-4923-aeaf-697bba59c1a7" providerId="ADAL" clId="{B7F01DC7-3D8F-4D5A-BE48-F82FA8F0723A}" dt="2020-05-19T19:08:11.961" v="145" actId="700"/>
          <ac:spMkLst>
            <pc:docMk/>
            <pc:sldMk cId="1920859442" sldId="650"/>
            <ac:spMk id="2" creationId="{2A99DE50-3870-4FD0-8E40-762A88A6F399}"/>
          </ac:spMkLst>
        </pc:spChg>
        <pc:spChg chg="add del mod ord">
          <ac:chgData name="Batuhan Yildiz" userId="90f344fc-4655-4923-aeaf-697bba59c1a7" providerId="ADAL" clId="{B7F01DC7-3D8F-4D5A-BE48-F82FA8F0723A}" dt="2020-05-19T19:12:48.110" v="343" actId="12084"/>
          <ac:spMkLst>
            <pc:docMk/>
            <pc:sldMk cId="1920859442" sldId="650"/>
            <ac:spMk id="3" creationId="{8F8A8A70-4EE3-41F2-9B7F-539A099B8CE1}"/>
          </ac:spMkLst>
        </pc:spChg>
        <pc:graphicFrameChg chg="add mod">
          <ac:chgData name="Batuhan Yildiz" userId="90f344fc-4655-4923-aeaf-697bba59c1a7" providerId="ADAL" clId="{B7F01DC7-3D8F-4D5A-BE48-F82FA8F0723A}" dt="2020-05-19T19:14:47.426" v="357" actId="313"/>
          <ac:graphicFrameMkLst>
            <pc:docMk/>
            <pc:sldMk cId="1920859442" sldId="650"/>
            <ac:graphicFrameMk id="5" creationId="{67E0064F-14FA-4931-A72C-84EF365292B9}"/>
          </ac:graphicFrameMkLst>
        </pc:graphicFrameChg>
        <pc:picChg chg="mod">
          <ac:chgData name="Batuhan Yildiz" userId="90f344fc-4655-4923-aeaf-697bba59c1a7" providerId="ADAL" clId="{B7F01DC7-3D8F-4D5A-BE48-F82FA8F0723A}" dt="2020-05-19T19:13:22.272" v="349" actId="14100"/>
          <ac:picMkLst>
            <pc:docMk/>
            <pc:sldMk cId="1920859442" sldId="650"/>
            <ac:picMk id="4" creationId="{9E9EB7E8-B366-49C7-A6FE-20E7361D3403}"/>
          </ac:picMkLst>
        </pc:picChg>
      </pc:sldChg>
      <pc:sldChg chg="addSp delSp modSp mod chgLayout">
        <pc:chgData name="Batuhan Yildiz" userId="90f344fc-4655-4923-aeaf-697bba59c1a7" providerId="ADAL" clId="{B7F01DC7-3D8F-4D5A-BE48-F82FA8F0723A}" dt="2020-05-19T19:18:00.093" v="472" actId="478"/>
        <pc:sldMkLst>
          <pc:docMk/>
          <pc:sldMk cId="2682938464" sldId="651"/>
        </pc:sldMkLst>
        <pc:spChg chg="mod ord">
          <ac:chgData name="Batuhan Yildiz" userId="90f344fc-4655-4923-aeaf-697bba59c1a7" providerId="ADAL" clId="{B7F01DC7-3D8F-4D5A-BE48-F82FA8F0723A}" dt="2020-05-19T19:14:00.975" v="353" actId="700"/>
          <ac:spMkLst>
            <pc:docMk/>
            <pc:sldMk cId="2682938464" sldId="651"/>
            <ac:spMk id="2" creationId="{2A99DE50-3870-4FD0-8E40-762A88A6F399}"/>
          </ac:spMkLst>
        </pc:spChg>
        <pc:spChg chg="add del mod ord">
          <ac:chgData name="Batuhan Yildiz" userId="90f344fc-4655-4923-aeaf-697bba59c1a7" providerId="ADAL" clId="{B7F01DC7-3D8F-4D5A-BE48-F82FA8F0723A}" dt="2020-05-19T19:18:00.093" v="472" actId="478"/>
          <ac:spMkLst>
            <pc:docMk/>
            <pc:sldMk cId="2682938464" sldId="651"/>
            <ac:spMk id="3" creationId="{EC9BFAD8-445F-40A4-B385-B49F0B33E623}"/>
          </ac:spMkLst>
        </pc:spChg>
        <pc:graphicFrameChg chg="add mod">
          <ac:chgData name="Batuhan Yildiz" userId="90f344fc-4655-4923-aeaf-697bba59c1a7" providerId="ADAL" clId="{B7F01DC7-3D8F-4D5A-BE48-F82FA8F0723A}" dt="2020-05-19T19:17:31.491" v="471" actId="20577"/>
          <ac:graphicFrameMkLst>
            <pc:docMk/>
            <pc:sldMk cId="2682938464" sldId="651"/>
            <ac:graphicFrameMk id="5" creationId="{C35CF6CD-E42C-44A4-897D-C341A518C6E3}"/>
          </ac:graphicFrameMkLst>
        </pc:graphicFrameChg>
        <pc:picChg chg="mod">
          <ac:chgData name="Batuhan Yildiz" userId="90f344fc-4655-4923-aeaf-697bba59c1a7" providerId="ADAL" clId="{B7F01DC7-3D8F-4D5A-BE48-F82FA8F0723A}" dt="2020-05-19T19:14:06.260" v="355" actId="14100"/>
          <ac:picMkLst>
            <pc:docMk/>
            <pc:sldMk cId="2682938464" sldId="651"/>
            <ac:picMk id="4" creationId="{532B731F-72F8-4CF3-808D-4B1B52E2047E}"/>
          </ac:picMkLst>
        </pc:picChg>
      </pc:sldChg>
      <pc:sldChg chg="modSp">
        <pc:chgData name="Batuhan Yildiz" userId="90f344fc-4655-4923-aeaf-697bba59c1a7" providerId="ADAL" clId="{B7F01DC7-3D8F-4D5A-BE48-F82FA8F0723A}" dt="2020-05-19T21:25:44.628" v="611" actId="12100"/>
        <pc:sldMkLst>
          <pc:docMk/>
          <pc:sldMk cId="4244268147" sldId="652"/>
        </pc:sldMkLst>
        <pc:graphicFrameChg chg="mod">
          <ac:chgData name="Batuhan Yildiz" userId="90f344fc-4655-4923-aeaf-697bba59c1a7" providerId="ADAL" clId="{B7F01DC7-3D8F-4D5A-BE48-F82FA8F0723A}" dt="2020-05-19T21:25:44.628" v="611" actId="12100"/>
          <ac:graphicFrameMkLst>
            <pc:docMk/>
            <pc:sldMk cId="4244268147" sldId="652"/>
            <ac:graphicFrameMk id="5" creationId="{BD98BFF2-94F9-49E0-AF70-E5BAFDA94445}"/>
          </ac:graphicFrameMkLst>
        </pc:graphicFrameChg>
      </pc:sldChg>
      <pc:sldChg chg="addSp delSp modSp mod chgLayout">
        <pc:chgData name="Batuhan Yildiz" userId="90f344fc-4655-4923-aeaf-697bba59c1a7" providerId="ADAL" clId="{B7F01DC7-3D8F-4D5A-BE48-F82FA8F0723A}" dt="2020-05-19T21:26:24.786" v="616" actId="478"/>
        <pc:sldMkLst>
          <pc:docMk/>
          <pc:sldMk cId="3033619648" sldId="653"/>
        </pc:sldMkLst>
        <pc:spChg chg="mod ord">
          <ac:chgData name="Batuhan Yildiz" userId="90f344fc-4655-4923-aeaf-697bba59c1a7" providerId="ADAL" clId="{B7F01DC7-3D8F-4D5A-BE48-F82FA8F0723A}" dt="2020-05-19T21:26:09.876" v="613" actId="700"/>
          <ac:spMkLst>
            <pc:docMk/>
            <pc:sldMk cId="3033619648" sldId="653"/>
            <ac:spMk id="2" creationId="{69F09152-2C69-42A4-B9E8-17C66374474F}"/>
          </ac:spMkLst>
        </pc:spChg>
        <pc:spChg chg="add del mod ord">
          <ac:chgData name="Batuhan Yildiz" userId="90f344fc-4655-4923-aeaf-697bba59c1a7" providerId="ADAL" clId="{B7F01DC7-3D8F-4D5A-BE48-F82FA8F0723A}" dt="2020-05-19T21:26:24.786" v="616" actId="478"/>
          <ac:spMkLst>
            <pc:docMk/>
            <pc:sldMk cId="3033619648" sldId="653"/>
            <ac:spMk id="3" creationId="{9BD50D78-470F-4514-ADB5-53A6339FA8BC}"/>
          </ac:spMkLst>
        </pc:spChg>
        <pc:spChg chg="mod">
          <ac:chgData name="Batuhan Yildiz" userId="90f344fc-4655-4923-aeaf-697bba59c1a7" providerId="ADAL" clId="{B7F01DC7-3D8F-4D5A-BE48-F82FA8F0723A}" dt="2020-05-19T21:26:18.957" v="615" actId="1076"/>
          <ac:spMkLst>
            <pc:docMk/>
            <pc:sldMk cId="3033619648" sldId="653"/>
            <ac:spMk id="5" creationId="{61DC19AA-6E4A-4840-A775-C596349863FC}"/>
          </ac:spMkLst>
        </pc:spChg>
        <pc:picChg chg="mod">
          <ac:chgData name="Batuhan Yildiz" userId="90f344fc-4655-4923-aeaf-697bba59c1a7" providerId="ADAL" clId="{B7F01DC7-3D8F-4D5A-BE48-F82FA8F0723A}" dt="2020-05-19T21:26:13.437" v="614" actId="1076"/>
          <ac:picMkLst>
            <pc:docMk/>
            <pc:sldMk cId="3033619648" sldId="653"/>
            <ac:picMk id="4" creationId="{D1C9C352-678B-48F0-9F9D-99341035D2A7}"/>
          </ac:picMkLst>
        </pc:picChg>
      </pc:sldChg>
      <pc:sldChg chg="delSp mod">
        <pc:chgData name="Batuhan Yildiz" userId="90f344fc-4655-4923-aeaf-697bba59c1a7" providerId="ADAL" clId="{B7F01DC7-3D8F-4D5A-BE48-F82FA8F0723A}" dt="2020-05-19T21:26:38.257" v="617" actId="478"/>
        <pc:sldMkLst>
          <pc:docMk/>
          <pc:sldMk cId="3383849555" sldId="654"/>
        </pc:sldMkLst>
        <pc:spChg chg="del">
          <ac:chgData name="Batuhan Yildiz" userId="90f344fc-4655-4923-aeaf-697bba59c1a7" providerId="ADAL" clId="{B7F01DC7-3D8F-4D5A-BE48-F82FA8F0723A}" dt="2020-05-19T21:26:38.257" v="617" actId="478"/>
          <ac:spMkLst>
            <pc:docMk/>
            <pc:sldMk cId="3383849555" sldId="654"/>
            <ac:spMk id="3" creationId="{46E6FFA2-8044-48D1-99C3-5361F8BA9553}"/>
          </ac:spMkLst>
        </pc:spChg>
      </pc:sldChg>
      <pc:sldChg chg="modSp">
        <pc:chgData name="Batuhan Yildiz" userId="90f344fc-4655-4923-aeaf-697bba59c1a7" providerId="ADAL" clId="{B7F01DC7-3D8F-4D5A-BE48-F82FA8F0723A}" dt="2020-05-19T21:27:21.643" v="619" actId="255"/>
        <pc:sldMkLst>
          <pc:docMk/>
          <pc:sldMk cId="3088295784" sldId="655"/>
        </pc:sldMkLst>
        <pc:graphicFrameChg chg="mod">
          <ac:chgData name="Batuhan Yildiz" userId="90f344fc-4655-4923-aeaf-697bba59c1a7" providerId="ADAL" clId="{B7F01DC7-3D8F-4D5A-BE48-F82FA8F0723A}" dt="2020-05-19T21:27:21.643" v="619" actId="255"/>
          <ac:graphicFrameMkLst>
            <pc:docMk/>
            <pc:sldMk cId="3088295784" sldId="655"/>
            <ac:graphicFrameMk id="4" creationId="{EA5387F8-BA10-4FB8-BE87-228B55D00AF3}"/>
          </ac:graphicFrameMkLst>
        </pc:graphicFrameChg>
      </pc:sldChg>
      <pc:sldChg chg="modSp mod modAnim chgLayout">
        <pc:chgData name="Batuhan Yildiz" userId="90f344fc-4655-4923-aeaf-697bba59c1a7" providerId="ADAL" clId="{B7F01DC7-3D8F-4D5A-BE48-F82FA8F0723A}" dt="2020-05-19T21:29:03.558" v="624" actId="13782"/>
        <pc:sldMkLst>
          <pc:docMk/>
          <pc:sldMk cId="1201192788" sldId="659"/>
        </pc:sldMkLst>
        <pc:spChg chg="mod ord">
          <ac:chgData name="Batuhan Yildiz" userId="90f344fc-4655-4923-aeaf-697bba59c1a7" providerId="ADAL" clId="{B7F01DC7-3D8F-4D5A-BE48-F82FA8F0723A}" dt="2020-05-19T21:28:07.942" v="620" actId="700"/>
          <ac:spMkLst>
            <pc:docMk/>
            <pc:sldMk cId="1201192788" sldId="659"/>
            <ac:spMk id="2" creationId="{E34D12A7-88C6-43B5-BACE-63605D6AA2D4}"/>
          </ac:spMkLst>
        </pc:spChg>
        <pc:graphicFrameChg chg="mod ord">
          <ac:chgData name="Batuhan Yildiz" userId="90f344fc-4655-4923-aeaf-697bba59c1a7" providerId="ADAL" clId="{B7F01DC7-3D8F-4D5A-BE48-F82FA8F0723A}" dt="2020-05-19T21:29:03.558" v="624" actId="13782"/>
          <ac:graphicFrameMkLst>
            <pc:docMk/>
            <pc:sldMk cId="1201192788" sldId="659"/>
            <ac:graphicFrameMk id="6" creationId="{1ABAC8BC-DE77-41FD-A659-C064591DB77D}"/>
          </ac:graphicFrameMkLst>
        </pc:graphicFrameChg>
        <pc:picChg chg="mod">
          <ac:chgData name="Batuhan Yildiz" userId="90f344fc-4655-4923-aeaf-697bba59c1a7" providerId="ADAL" clId="{B7F01DC7-3D8F-4D5A-BE48-F82FA8F0723A}" dt="2020-05-19T21:28:19.479" v="622" actId="14100"/>
          <ac:picMkLst>
            <pc:docMk/>
            <pc:sldMk cId="1201192788" sldId="659"/>
            <ac:picMk id="4" creationId="{FE6C95E4-1469-420E-B923-42C4D1EFCD98}"/>
          </ac:picMkLst>
        </pc:picChg>
      </pc:sldChg>
      <pc:sldChg chg="addSp delSp modSp mod chgLayout">
        <pc:chgData name="Batuhan Yildiz" userId="90f344fc-4655-4923-aeaf-697bba59c1a7" providerId="ADAL" clId="{B7F01DC7-3D8F-4D5A-BE48-F82FA8F0723A}" dt="2020-05-19T21:31:56.876" v="669" actId="478"/>
        <pc:sldMkLst>
          <pc:docMk/>
          <pc:sldMk cId="31603130" sldId="660"/>
        </pc:sldMkLst>
        <pc:spChg chg="mod ord">
          <ac:chgData name="Batuhan Yildiz" userId="90f344fc-4655-4923-aeaf-697bba59c1a7" providerId="ADAL" clId="{B7F01DC7-3D8F-4D5A-BE48-F82FA8F0723A}" dt="2020-05-19T21:30:36.492" v="627" actId="700"/>
          <ac:spMkLst>
            <pc:docMk/>
            <pc:sldMk cId="31603130" sldId="660"/>
            <ac:spMk id="2" creationId="{E34D12A7-88C6-43B5-BACE-63605D6AA2D4}"/>
          </ac:spMkLst>
        </pc:spChg>
        <pc:spChg chg="add del mod ord">
          <ac:chgData name="Batuhan Yildiz" userId="90f344fc-4655-4923-aeaf-697bba59c1a7" providerId="ADAL" clId="{B7F01DC7-3D8F-4D5A-BE48-F82FA8F0723A}" dt="2020-05-19T21:31:56.876" v="669" actId="478"/>
          <ac:spMkLst>
            <pc:docMk/>
            <pc:sldMk cId="31603130" sldId="660"/>
            <ac:spMk id="3" creationId="{2369C18E-48F3-4B90-8095-6F04DA3EDB2E}"/>
          </ac:spMkLst>
        </pc:spChg>
        <pc:graphicFrameChg chg="mod modGraphic">
          <ac:chgData name="Batuhan Yildiz" userId="90f344fc-4655-4923-aeaf-697bba59c1a7" providerId="ADAL" clId="{B7F01DC7-3D8F-4D5A-BE48-F82FA8F0723A}" dt="2020-05-19T21:31:48.321" v="668" actId="1076"/>
          <ac:graphicFrameMkLst>
            <pc:docMk/>
            <pc:sldMk cId="31603130" sldId="660"/>
            <ac:graphicFrameMk id="4" creationId="{6E00B224-283A-4C22-9BB8-1C44B9EC4E18}"/>
          </ac:graphicFrameMkLst>
        </pc:graphicFrameChg>
      </pc:sldChg>
      <pc:sldChg chg="addSp delSp modSp mod chgLayout">
        <pc:chgData name="Batuhan Yildiz" userId="90f344fc-4655-4923-aeaf-697bba59c1a7" providerId="ADAL" clId="{B7F01DC7-3D8F-4D5A-BE48-F82FA8F0723A}" dt="2020-05-19T21:31:32.511" v="651" actId="478"/>
        <pc:sldMkLst>
          <pc:docMk/>
          <pc:sldMk cId="80066504" sldId="661"/>
        </pc:sldMkLst>
        <pc:spChg chg="mod ord">
          <ac:chgData name="Batuhan Yildiz" userId="90f344fc-4655-4923-aeaf-697bba59c1a7" providerId="ADAL" clId="{B7F01DC7-3D8F-4D5A-BE48-F82FA8F0723A}" dt="2020-05-19T21:30:56.952" v="629" actId="700"/>
          <ac:spMkLst>
            <pc:docMk/>
            <pc:sldMk cId="80066504" sldId="661"/>
            <ac:spMk id="2" creationId="{E34D12A7-88C6-43B5-BACE-63605D6AA2D4}"/>
          </ac:spMkLst>
        </pc:spChg>
        <pc:spChg chg="del">
          <ac:chgData name="Batuhan Yildiz" userId="90f344fc-4655-4923-aeaf-697bba59c1a7" providerId="ADAL" clId="{B7F01DC7-3D8F-4D5A-BE48-F82FA8F0723A}" dt="2020-05-19T21:30:56.952" v="629" actId="700"/>
          <ac:spMkLst>
            <pc:docMk/>
            <pc:sldMk cId="80066504" sldId="661"/>
            <ac:spMk id="3" creationId="{474730C4-8B3E-4012-A427-F717A866F17C}"/>
          </ac:spMkLst>
        </pc:spChg>
        <pc:spChg chg="add del mod ord">
          <ac:chgData name="Batuhan Yildiz" userId="90f344fc-4655-4923-aeaf-697bba59c1a7" providerId="ADAL" clId="{B7F01DC7-3D8F-4D5A-BE48-F82FA8F0723A}" dt="2020-05-19T21:31:32.511" v="651" actId="478"/>
          <ac:spMkLst>
            <pc:docMk/>
            <pc:sldMk cId="80066504" sldId="661"/>
            <ac:spMk id="5" creationId="{6ED2E8A3-9B83-4848-8A10-B2CC269C2F57}"/>
          </ac:spMkLst>
        </pc:spChg>
        <pc:graphicFrameChg chg="add del modGraphic">
          <ac:chgData name="Batuhan Yildiz" userId="90f344fc-4655-4923-aeaf-697bba59c1a7" providerId="ADAL" clId="{B7F01DC7-3D8F-4D5A-BE48-F82FA8F0723A}" dt="2020-05-19T21:31:21.505" v="650" actId="478"/>
          <ac:graphicFrameMkLst>
            <pc:docMk/>
            <pc:sldMk cId="80066504" sldId="661"/>
            <ac:graphicFrameMk id="4" creationId="{6F2D9B50-3367-46A4-8B0B-52C310CAB153}"/>
          </ac:graphicFrameMkLst>
        </pc:graphicFrameChg>
      </pc:sldChg>
      <pc:sldChg chg="addSp modSp mod chgLayout">
        <pc:chgData name="Batuhan Yildiz" userId="90f344fc-4655-4923-aeaf-697bba59c1a7" providerId="ADAL" clId="{B7F01DC7-3D8F-4D5A-BE48-F82FA8F0723A}" dt="2020-05-19T21:34:22.205" v="691" actId="14100"/>
        <pc:sldMkLst>
          <pc:docMk/>
          <pc:sldMk cId="2166726321" sldId="663"/>
        </pc:sldMkLst>
        <pc:spChg chg="mod ord">
          <ac:chgData name="Batuhan Yildiz" userId="90f344fc-4655-4923-aeaf-697bba59c1a7" providerId="ADAL" clId="{B7F01DC7-3D8F-4D5A-BE48-F82FA8F0723A}" dt="2020-05-19T21:33:37.306" v="681" actId="700"/>
          <ac:spMkLst>
            <pc:docMk/>
            <pc:sldMk cId="2166726321" sldId="663"/>
            <ac:spMk id="2" creationId="{9AC85EB0-4498-448F-85B2-3114977F77BE}"/>
          </ac:spMkLst>
        </pc:spChg>
        <pc:spChg chg="add mod ord">
          <ac:chgData name="Batuhan Yildiz" userId="90f344fc-4655-4923-aeaf-697bba59c1a7" providerId="ADAL" clId="{B7F01DC7-3D8F-4D5A-BE48-F82FA8F0723A}" dt="2020-05-19T21:33:37.306" v="681" actId="700"/>
          <ac:spMkLst>
            <pc:docMk/>
            <pc:sldMk cId="2166726321" sldId="663"/>
            <ac:spMk id="3" creationId="{14736545-6017-46AD-9DA9-3DA2FC57B53C}"/>
          </ac:spMkLst>
        </pc:spChg>
        <pc:picChg chg="mod">
          <ac:chgData name="Batuhan Yildiz" userId="90f344fc-4655-4923-aeaf-697bba59c1a7" providerId="ADAL" clId="{B7F01DC7-3D8F-4D5A-BE48-F82FA8F0723A}" dt="2020-05-19T21:33:43.463" v="683" actId="14100"/>
          <ac:picMkLst>
            <pc:docMk/>
            <pc:sldMk cId="2166726321" sldId="663"/>
            <ac:picMk id="4" creationId="{A92633A8-BCDB-4F2D-83BA-9BE732178E8B}"/>
          </ac:picMkLst>
        </pc:picChg>
        <pc:picChg chg="mod">
          <ac:chgData name="Batuhan Yildiz" userId="90f344fc-4655-4923-aeaf-697bba59c1a7" providerId="ADAL" clId="{B7F01DC7-3D8F-4D5A-BE48-F82FA8F0723A}" dt="2020-05-19T21:33:59.768" v="686" actId="1076"/>
          <ac:picMkLst>
            <pc:docMk/>
            <pc:sldMk cId="2166726321" sldId="663"/>
            <ac:picMk id="5" creationId="{2B6E2088-717F-4F0A-8C62-DE02470C5DAB}"/>
          </ac:picMkLst>
        </pc:picChg>
        <pc:picChg chg="mod">
          <ac:chgData name="Batuhan Yildiz" userId="90f344fc-4655-4923-aeaf-697bba59c1a7" providerId="ADAL" clId="{B7F01DC7-3D8F-4D5A-BE48-F82FA8F0723A}" dt="2020-05-19T21:33:52.435" v="684" actId="1076"/>
          <ac:picMkLst>
            <pc:docMk/>
            <pc:sldMk cId="2166726321" sldId="663"/>
            <ac:picMk id="6" creationId="{61DA1644-BA4B-4311-8364-1FFC6E7B156D}"/>
          </ac:picMkLst>
        </pc:picChg>
        <pc:picChg chg="mod">
          <ac:chgData name="Batuhan Yildiz" userId="90f344fc-4655-4923-aeaf-697bba59c1a7" providerId="ADAL" clId="{B7F01DC7-3D8F-4D5A-BE48-F82FA8F0723A}" dt="2020-05-19T21:34:22.205" v="691" actId="14100"/>
          <ac:picMkLst>
            <pc:docMk/>
            <pc:sldMk cId="2166726321" sldId="663"/>
            <ac:picMk id="7" creationId="{4D7D9AFA-634A-4608-BE93-7CF34987ED5B}"/>
          </ac:picMkLst>
        </pc:picChg>
        <pc:picChg chg="mod">
          <ac:chgData name="Batuhan Yildiz" userId="90f344fc-4655-4923-aeaf-697bba59c1a7" providerId="ADAL" clId="{B7F01DC7-3D8F-4D5A-BE48-F82FA8F0723A}" dt="2020-05-19T21:34:14.343" v="689" actId="14100"/>
          <ac:picMkLst>
            <pc:docMk/>
            <pc:sldMk cId="2166726321" sldId="663"/>
            <ac:picMk id="8" creationId="{DDBDFF27-B917-4E79-A03E-A11FAFEDBB22}"/>
          </ac:picMkLst>
        </pc:picChg>
      </pc:sldChg>
      <pc:sldChg chg="modSp">
        <pc:chgData name="Batuhan Yildiz" userId="90f344fc-4655-4923-aeaf-697bba59c1a7" providerId="ADAL" clId="{B7F01DC7-3D8F-4D5A-BE48-F82FA8F0723A}" dt="2020-05-19T21:34:47.417" v="692" actId="255"/>
        <pc:sldMkLst>
          <pc:docMk/>
          <pc:sldMk cId="3524499398" sldId="667"/>
        </pc:sldMkLst>
        <pc:graphicFrameChg chg="mod">
          <ac:chgData name="Batuhan Yildiz" userId="90f344fc-4655-4923-aeaf-697bba59c1a7" providerId="ADAL" clId="{B7F01DC7-3D8F-4D5A-BE48-F82FA8F0723A}" dt="2020-05-19T21:34:47.417" v="692" actId="255"/>
          <ac:graphicFrameMkLst>
            <pc:docMk/>
            <pc:sldMk cId="3524499398" sldId="667"/>
            <ac:graphicFrameMk id="4" creationId="{714ACAEC-9E8B-4A03-9EED-D8B79A5F0FD9}"/>
          </ac:graphicFrameMkLst>
        </pc:graphicFrameChg>
      </pc:sldChg>
      <pc:sldChg chg="modSp">
        <pc:chgData name="Batuhan Yildiz" userId="90f344fc-4655-4923-aeaf-697bba59c1a7" providerId="ADAL" clId="{B7F01DC7-3D8F-4D5A-BE48-F82FA8F0723A}" dt="2020-05-19T21:35:46.328" v="695" actId="12100"/>
        <pc:sldMkLst>
          <pc:docMk/>
          <pc:sldMk cId="3579828806" sldId="672"/>
        </pc:sldMkLst>
        <pc:graphicFrameChg chg="mod">
          <ac:chgData name="Batuhan Yildiz" userId="90f344fc-4655-4923-aeaf-697bba59c1a7" providerId="ADAL" clId="{B7F01DC7-3D8F-4D5A-BE48-F82FA8F0723A}" dt="2020-05-19T21:35:46.328" v="695" actId="12100"/>
          <ac:graphicFrameMkLst>
            <pc:docMk/>
            <pc:sldMk cId="3579828806" sldId="672"/>
            <ac:graphicFrameMk id="4" creationId="{127279D7-1651-4E95-802B-BB50DE0D437A}"/>
          </ac:graphicFrameMkLst>
        </pc:graphicFrameChg>
      </pc:sldChg>
      <pc:sldChg chg="modSp mod">
        <pc:chgData name="Batuhan Yildiz" userId="90f344fc-4655-4923-aeaf-697bba59c1a7" providerId="ADAL" clId="{B7F01DC7-3D8F-4D5A-BE48-F82FA8F0723A}" dt="2020-05-19T21:36:00.307" v="696" actId="12385"/>
        <pc:sldMkLst>
          <pc:docMk/>
          <pc:sldMk cId="574796639" sldId="677"/>
        </pc:sldMkLst>
        <pc:graphicFrameChg chg="modGraphic">
          <ac:chgData name="Batuhan Yildiz" userId="90f344fc-4655-4923-aeaf-697bba59c1a7" providerId="ADAL" clId="{B7F01DC7-3D8F-4D5A-BE48-F82FA8F0723A}" dt="2020-05-19T21:36:00.307" v="696" actId="12385"/>
          <ac:graphicFrameMkLst>
            <pc:docMk/>
            <pc:sldMk cId="574796639" sldId="677"/>
            <ac:graphicFrameMk id="7" creationId="{80CB663F-A664-4D13-B6BF-AAC883034B13}"/>
          </ac:graphicFrameMkLst>
        </pc:graphicFrameChg>
      </pc:sldChg>
    </pc:docChg>
  </pc:docChgLst>
  <pc:docChgLst>
    <pc:chgData name="Batuhan Yildiz" userId="90f344fc-4655-4923-aeaf-697bba59c1a7" providerId="ADAL" clId="{8B90232F-8957-484F-A0F7-8097E8C2F192}"/>
    <pc:docChg chg="undo custSel delSld modSld modSection">
      <pc:chgData name="Batuhan Yildiz" userId="90f344fc-4655-4923-aeaf-697bba59c1a7" providerId="ADAL" clId="{8B90232F-8957-484F-A0F7-8097E8C2F192}" dt="2020-04-30T19:36:50.079" v="99" actId="47"/>
      <pc:docMkLst>
        <pc:docMk/>
      </pc:docMkLst>
      <pc:sldChg chg="modSp mod modNotesTx">
        <pc:chgData name="Batuhan Yildiz" userId="90f344fc-4655-4923-aeaf-697bba59c1a7" providerId="ADAL" clId="{8B90232F-8957-484F-A0F7-8097E8C2F192}" dt="2020-04-30T17:52:41.791" v="11" actId="20577"/>
        <pc:sldMkLst>
          <pc:docMk/>
          <pc:sldMk cId="670385602" sldId="567"/>
        </pc:sldMkLst>
        <pc:spChg chg="mod">
          <ac:chgData name="Batuhan Yildiz" userId="90f344fc-4655-4923-aeaf-697bba59c1a7" providerId="ADAL" clId="{8B90232F-8957-484F-A0F7-8097E8C2F192}" dt="2020-04-30T17:52:21.164" v="3" actId="20577"/>
          <ac:spMkLst>
            <pc:docMk/>
            <pc:sldMk cId="670385602" sldId="567"/>
            <ac:spMk id="3" creationId="{8F64A22E-2B43-4FC6-AF08-0CDB3F9E9269}"/>
          </ac:spMkLst>
        </pc:spChg>
        <pc:spChg chg="mod">
          <ac:chgData name="Batuhan Yildiz" userId="90f344fc-4655-4923-aeaf-697bba59c1a7" providerId="ADAL" clId="{8B90232F-8957-484F-A0F7-8097E8C2F192}" dt="2020-04-30T17:52:30.341" v="8" actId="15"/>
          <ac:spMkLst>
            <pc:docMk/>
            <pc:sldMk cId="670385602" sldId="567"/>
            <ac:spMk id="6" creationId="{637E159C-9ACF-48AE-927A-D5FB13695C7F}"/>
          </ac:spMkLst>
        </pc:spChg>
      </pc:sldChg>
      <pc:sldChg chg="modNotesTx">
        <pc:chgData name="Batuhan Yildiz" userId="90f344fc-4655-4923-aeaf-697bba59c1a7" providerId="ADAL" clId="{8B90232F-8957-484F-A0F7-8097E8C2F192}" dt="2020-04-30T17:52:59.044" v="12"/>
        <pc:sldMkLst>
          <pc:docMk/>
          <pc:sldMk cId="2147177822" sldId="568"/>
        </pc:sldMkLst>
      </pc:sldChg>
      <pc:sldChg chg="delSp mod">
        <pc:chgData name="Batuhan Yildiz" userId="90f344fc-4655-4923-aeaf-697bba59c1a7" providerId="ADAL" clId="{8B90232F-8957-484F-A0F7-8097E8C2F192}" dt="2020-04-30T19:31:04.237" v="56" actId="478"/>
        <pc:sldMkLst>
          <pc:docMk/>
          <pc:sldMk cId="3847515031" sldId="580"/>
        </pc:sldMkLst>
        <pc:spChg chg="del">
          <ac:chgData name="Batuhan Yildiz" userId="90f344fc-4655-4923-aeaf-697bba59c1a7" providerId="ADAL" clId="{8B90232F-8957-484F-A0F7-8097E8C2F192}" dt="2020-04-30T19:31:04.237" v="56" actId="478"/>
          <ac:spMkLst>
            <pc:docMk/>
            <pc:sldMk cId="3847515031" sldId="580"/>
            <ac:spMk id="4" creationId="{F3616A99-090F-45E1-9334-58D58B148205}"/>
          </ac:spMkLst>
        </pc:spChg>
      </pc:sldChg>
      <pc:sldChg chg="modSp mod modNotesTx">
        <pc:chgData name="Batuhan Yildiz" userId="90f344fc-4655-4923-aeaf-697bba59c1a7" providerId="ADAL" clId="{8B90232F-8957-484F-A0F7-8097E8C2F192}" dt="2020-04-30T17:54:07.701" v="23" actId="20577"/>
        <pc:sldMkLst>
          <pc:docMk/>
          <pc:sldMk cId="3638635031" sldId="581"/>
        </pc:sldMkLst>
        <pc:spChg chg="mod">
          <ac:chgData name="Batuhan Yildiz" userId="90f344fc-4655-4923-aeaf-697bba59c1a7" providerId="ADAL" clId="{8B90232F-8957-484F-A0F7-8097E8C2F192}" dt="2020-04-30T17:53:44.799" v="15" actId="20577"/>
          <ac:spMkLst>
            <pc:docMk/>
            <pc:sldMk cId="3638635031" sldId="581"/>
            <ac:spMk id="3" creationId="{8F64A22E-2B43-4FC6-AF08-0CDB3F9E9269}"/>
          </ac:spMkLst>
        </pc:spChg>
        <pc:spChg chg="mod">
          <ac:chgData name="Batuhan Yildiz" userId="90f344fc-4655-4923-aeaf-697bba59c1a7" providerId="ADAL" clId="{8B90232F-8957-484F-A0F7-8097E8C2F192}" dt="2020-04-30T17:53:56.627" v="20" actId="15"/>
          <ac:spMkLst>
            <pc:docMk/>
            <pc:sldMk cId="3638635031" sldId="581"/>
            <ac:spMk id="6" creationId="{637E159C-9ACF-48AE-927A-D5FB13695C7F}"/>
          </ac:spMkLst>
        </pc:spChg>
      </pc:sldChg>
      <pc:sldChg chg="modSp mod modNotesTx">
        <pc:chgData name="Batuhan Yildiz" userId="90f344fc-4655-4923-aeaf-697bba59c1a7" providerId="ADAL" clId="{8B90232F-8957-484F-A0F7-8097E8C2F192}" dt="2020-04-30T17:54:41.559" v="33" actId="20577"/>
        <pc:sldMkLst>
          <pc:docMk/>
          <pc:sldMk cId="2401107922" sldId="593"/>
        </pc:sldMkLst>
        <pc:spChg chg="mod">
          <ac:chgData name="Batuhan Yildiz" userId="90f344fc-4655-4923-aeaf-697bba59c1a7" providerId="ADAL" clId="{8B90232F-8957-484F-A0F7-8097E8C2F192}" dt="2020-04-30T17:54:23.195" v="25" actId="20577"/>
          <ac:spMkLst>
            <pc:docMk/>
            <pc:sldMk cId="2401107922" sldId="593"/>
            <ac:spMk id="3" creationId="{8F64A22E-2B43-4FC6-AF08-0CDB3F9E9269}"/>
          </ac:spMkLst>
        </pc:spChg>
        <pc:spChg chg="mod">
          <ac:chgData name="Batuhan Yildiz" userId="90f344fc-4655-4923-aeaf-697bba59c1a7" providerId="ADAL" clId="{8B90232F-8957-484F-A0F7-8097E8C2F192}" dt="2020-04-30T17:54:33.493" v="30" actId="15"/>
          <ac:spMkLst>
            <pc:docMk/>
            <pc:sldMk cId="2401107922" sldId="593"/>
            <ac:spMk id="6" creationId="{637E159C-9ACF-48AE-927A-D5FB13695C7F}"/>
          </ac:spMkLst>
        </pc:spChg>
      </pc:sldChg>
      <pc:sldChg chg="modNotesTx">
        <pc:chgData name="Batuhan Yildiz" userId="90f344fc-4655-4923-aeaf-697bba59c1a7" providerId="ADAL" clId="{8B90232F-8957-484F-A0F7-8097E8C2F192}" dt="2020-04-30T17:54:51.518" v="34"/>
        <pc:sldMkLst>
          <pc:docMk/>
          <pc:sldMk cId="830604392" sldId="594"/>
        </pc:sldMkLst>
      </pc:sldChg>
      <pc:sldChg chg="modSp mod modNotesTx">
        <pc:chgData name="Batuhan Yildiz" userId="90f344fc-4655-4923-aeaf-697bba59c1a7" providerId="ADAL" clId="{8B90232F-8957-484F-A0F7-8097E8C2F192}" dt="2020-04-30T17:55:34.818" v="44" actId="20577"/>
        <pc:sldMkLst>
          <pc:docMk/>
          <pc:sldMk cId="990636349" sldId="601"/>
        </pc:sldMkLst>
        <pc:spChg chg="mod">
          <ac:chgData name="Batuhan Yildiz" userId="90f344fc-4655-4923-aeaf-697bba59c1a7" providerId="ADAL" clId="{8B90232F-8957-484F-A0F7-8097E8C2F192}" dt="2020-04-30T17:55:09.069" v="36" actId="20577"/>
          <ac:spMkLst>
            <pc:docMk/>
            <pc:sldMk cId="990636349" sldId="601"/>
            <ac:spMk id="3" creationId="{8F64A22E-2B43-4FC6-AF08-0CDB3F9E9269}"/>
          </ac:spMkLst>
        </pc:spChg>
        <pc:spChg chg="mod">
          <ac:chgData name="Batuhan Yildiz" userId="90f344fc-4655-4923-aeaf-697bba59c1a7" providerId="ADAL" clId="{8B90232F-8957-484F-A0F7-8097E8C2F192}" dt="2020-04-30T17:55:17.930" v="41" actId="15"/>
          <ac:spMkLst>
            <pc:docMk/>
            <pc:sldMk cId="990636349" sldId="601"/>
            <ac:spMk id="6" creationId="{637E159C-9ACF-48AE-927A-D5FB13695C7F}"/>
          </ac:spMkLst>
        </pc:spChg>
      </pc:sldChg>
      <pc:sldChg chg="del">
        <pc:chgData name="Batuhan Yildiz" userId="90f344fc-4655-4923-aeaf-697bba59c1a7" providerId="ADAL" clId="{8B90232F-8957-484F-A0F7-8097E8C2F192}" dt="2020-04-30T19:36:50.079" v="99" actId="47"/>
        <pc:sldMkLst>
          <pc:docMk/>
          <pc:sldMk cId="167837933" sldId="639"/>
        </pc:sldMkLst>
      </pc:sldChg>
      <pc:sldChg chg="modSp">
        <pc:chgData name="Batuhan Yildiz" userId="90f344fc-4655-4923-aeaf-697bba59c1a7" providerId="ADAL" clId="{8B90232F-8957-484F-A0F7-8097E8C2F192}" dt="2020-04-30T19:33:57.005" v="91"/>
        <pc:sldMkLst>
          <pc:docMk/>
          <pc:sldMk cId="2498375047" sldId="640"/>
        </pc:sldMkLst>
        <pc:graphicFrameChg chg="mod">
          <ac:chgData name="Batuhan Yildiz" userId="90f344fc-4655-4923-aeaf-697bba59c1a7" providerId="ADAL" clId="{8B90232F-8957-484F-A0F7-8097E8C2F192}" dt="2020-04-30T19:33:57.005" v="91"/>
          <ac:graphicFrameMkLst>
            <pc:docMk/>
            <pc:sldMk cId="2498375047" sldId="640"/>
            <ac:graphicFrameMk id="3" creationId="{9484E1FE-7534-495E-863C-657A46F5E628}"/>
          </ac:graphicFrameMkLst>
        </pc:graphicFrameChg>
      </pc:sldChg>
      <pc:sldChg chg="modSp mod">
        <pc:chgData name="Batuhan Yildiz" userId="90f344fc-4655-4923-aeaf-697bba59c1a7" providerId="ADAL" clId="{8B90232F-8957-484F-A0F7-8097E8C2F192}" dt="2020-04-30T19:31:51.701" v="74"/>
        <pc:sldMkLst>
          <pc:docMk/>
          <pc:sldMk cId="4042745818" sldId="641"/>
        </pc:sldMkLst>
        <pc:graphicFrameChg chg="mod">
          <ac:chgData name="Batuhan Yildiz" userId="90f344fc-4655-4923-aeaf-697bba59c1a7" providerId="ADAL" clId="{8B90232F-8957-484F-A0F7-8097E8C2F192}" dt="2020-04-30T19:31:51.701" v="74"/>
          <ac:graphicFrameMkLst>
            <pc:docMk/>
            <pc:sldMk cId="4042745818" sldId="641"/>
            <ac:graphicFrameMk id="3" creationId="{9484E1FE-7534-495E-863C-657A46F5E628}"/>
          </ac:graphicFrameMkLst>
        </pc:graphicFrameChg>
      </pc:sldChg>
      <pc:sldChg chg="modSp">
        <pc:chgData name="Batuhan Yildiz" userId="90f344fc-4655-4923-aeaf-697bba59c1a7" providerId="ADAL" clId="{8B90232F-8957-484F-A0F7-8097E8C2F192}" dt="2020-04-30T19:30:30.404" v="53" actId="14100"/>
        <pc:sldMkLst>
          <pc:docMk/>
          <pc:sldMk cId="2364637494" sldId="642"/>
        </pc:sldMkLst>
        <pc:graphicFrameChg chg="mod">
          <ac:chgData name="Batuhan Yildiz" userId="90f344fc-4655-4923-aeaf-697bba59c1a7" providerId="ADAL" clId="{8B90232F-8957-484F-A0F7-8097E8C2F192}" dt="2020-04-30T19:30:30.404" v="53" actId="14100"/>
          <ac:graphicFrameMkLst>
            <pc:docMk/>
            <pc:sldMk cId="2364637494" sldId="642"/>
            <ac:graphicFrameMk id="3" creationId="{9484E1FE-7534-495E-863C-657A46F5E628}"/>
          </ac:graphicFrameMkLst>
        </pc:graphicFrameChg>
      </pc:sldChg>
      <pc:sldChg chg="modSp">
        <pc:chgData name="Batuhan Yildiz" userId="90f344fc-4655-4923-aeaf-697bba59c1a7" providerId="ADAL" clId="{8B90232F-8957-484F-A0F7-8097E8C2F192}" dt="2020-04-30T19:30:01.097" v="51" actId="14100"/>
        <pc:sldMkLst>
          <pc:docMk/>
          <pc:sldMk cId="1238568575" sldId="643"/>
        </pc:sldMkLst>
        <pc:graphicFrameChg chg="mod">
          <ac:chgData name="Batuhan Yildiz" userId="90f344fc-4655-4923-aeaf-697bba59c1a7" providerId="ADAL" clId="{8B90232F-8957-484F-A0F7-8097E8C2F192}" dt="2020-04-30T19:30:01.097" v="51" actId="14100"/>
          <ac:graphicFrameMkLst>
            <pc:docMk/>
            <pc:sldMk cId="1238568575" sldId="643"/>
            <ac:graphicFrameMk id="3" creationId="{9484E1FE-7534-495E-863C-657A46F5E628}"/>
          </ac:graphicFrameMkLst>
        </pc:graphicFrameChg>
      </pc:sldChg>
      <pc:sldChg chg="del">
        <pc:chgData name="Batuhan Yildiz" userId="90f344fc-4655-4923-aeaf-697bba59c1a7" providerId="ADAL" clId="{8B90232F-8957-484F-A0F7-8097E8C2F192}" dt="2020-04-30T19:28:32.633" v="45" actId="47"/>
        <pc:sldMkLst>
          <pc:docMk/>
          <pc:sldMk cId="2643841819" sldId="644"/>
        </pc:sldMkLst>
      </pc:sldChg>
      <pc:sldChg chg="delSp mod">
        <pc:chgData name="Batuhan Yildiz" userId="90f344fc-4655-4923-aeaf-697bba59c1a7" providerId="ADAL" clId="{8B90232F-8957-484F-A0F7-8097E8C2F192}" dt="2020-04-30T19:28:46.353" v="46" actId="478"/>
        <pc:sldMkLst>
          <pc:docMk/>
          <pc:sldMk cId="2147045182" sldId="647"/>
        </pc:sldMkLst>
        <pc:spChg chg="del">
          <ac:chgData name="Batuhan Yildiz" userId="90f344fc-4655-4923-aeaf-697bba59c1a7" providerId="ADAL" clId="{8B90232F-8957-484F-A0F7-8097E8C2F192}" dt="2020-04-30T19:28:46.353" v="46" actId="478"/>
          <ac:spMkLst>
            <pc:docMk/>
            <pc:sldMk cId="2147045182" sldId="647"/>
            <ac:spMk id="3" creationId="{41FBD961-BF2E-4AC8-95CB-4D75CD209091}"/>
          </ac:spMkLst>
        </pc:spChg>
      </pc:sldChg>
      <pc:sldChg chg="delSp mod">
        <pc:chgData name="Batuhan Yildiz" userId="90f344fc-4655-4923-aeaf-697bba59c1a7" providerId="ADAL" clId="{8B90232F-8957-484F-A0F7-8097E8C2F192}" dt="2020-04-30T19:28:51.065" v="47" actId="478"/>
        <pc:sldMkLst>
          <pc:docMk/>
          <pc:sldMk cId="2904492945" sldId="648"/>
        </pc:sldMkLst>
        <pc:spChg chg="del">
          <ac:chgData name="Batuhan Yildiz" userId="90f344fc-4655-4923-aeaf-697bba59c1a7" providerId="ADAL" clId="{8B90232F-8957-484F-A0F7-8097E8C2F192}" dt="2020-04-30T19:28:51.065" v="47" actId="478"/>
          <ac:spMkLst>
            <pc:docMk/>
            <pc:sldMk cId="2904492945" sldId="648"/>
            <ac:spMk id="3" creationId="{41FBD961-BF2E-4AC8-95CB-4D75CD209091}"/>
          </ac:spMkLst>
        </pc:spChg>
      </pc:sldChg>
      <pc:sldChg chg="delSp mod">
        <pc:chgData name="Batuhan Yildiz" userId="90f344fc-4655-4923-aeaf-697bba59c1a7" providerId="ADAL" clId="{8B90232F-8957-484F-A0F7-8097E8C2F192}" dt="2020-04-30T19:28:58.093" v="48" actId="478"/>
        <pc:sldMkLst>
          <pc:docMk/>
          <pc:sldMk cId="3734993957" sldId="649"/>
        </pc:sldMkLst>
        <pc:spChg chg="del">
          <ac:chgData name="Batuhan Yildiz" userId="90f344fc-4655-4923-aeaf-697bba59c1a7" providerId="ADAL" clId="{8B90232F-8957-484F-A0F7-8097E8C2F192}" dt="2020-04-30T19:28:58.093" v="48" actId="478"/>
          <ac:spMkLst>
            <pc:docMk/>
            <pc:sldMk cId="3734993957" sldId="649"/>
            <ac:spMk id="3" creationId="{41FBD961-BF2E-4AC8-95CB-4D75CD209091}"/>
          </ac:spMkLst>
        </pc:spChg>
      </pc:sldChg>
      <pc:sldChg chg="delSp mod">
        <pc:chgData name="Batuhan Yildiz" userId="90f344fc-4655-4923-aeaf-697bba59c1a7" providerId="ADAL" clId="{8B90232F-8957-484F-A0F7-8097E8C2F192}" dt="2020-04-30T19:29:02.447" v="49" actId="478"/>
        <pc:sldMkLst>
          <pc:docMk/>
          <pc:sldMk cId="1920859442" sldId="650"/>
        </pc:sldMkLst>
        <pc:spChg chg="del">
          <ac:chgData name="Batuhan Yildiz" userId="90f344fc-4655-4923-aeaf-697bba59c1a7" providerId="ADAL" clId="{8B90232F-8957-484F-A0F7-8097E8C2F192}" dt="2020-04-30T19:29:02.447" v="49" actId="478"/>
          <ac:spMkLst>
            <pc:docMk/>
            <pc:sldMk cId="1920859442" sldId="650"/>
            <ac:spMk id="3" creationId="{41FBD961-BF2E-4AC8-95CB-4D75CD209091}"/>
          </ac:spMkLst>
        </pc:spChg>
      </pc:sldChg>
      <pc:sldChg chg="delSp mod">
        <pc:chgData name="Batuhan Yildiz" userId="90f344fc-4655-4923-aeaf-697bba59c1a7" providerId="ADAL" clId="{8B90232F-8957-484F-A0F7-8097E8C2F192}" dt="2020-04-30T19:29:08.333" v="50" actId="478"/>
        <pc:sldMkLst>
          <pc:docMk/>
          <pc:sldMk cId="2682938464" sldId="651"/>
        </pc:sldMkLst>
        <pc:spChg chg="del">
          <ac:chgData name="Batuhan Yildiz" userId="90f344fc-4655-4923-aeaf-697bba59c1a7" providerId="ADAL" clId="{8B90232F-8957-484F-A0F7-8097E8C2F192}" dt="2020-04-30T19:29:08.333" v="50" actId="478"/>
          <ac:spMkLst>
            <pc:docMk/>
            <pc:sldMk cId="2682938464" sldId="651"/>
            <ac:spMk id="3" creationId="{41FBD961-BF2E-4AC8-95CB-4D75CD209091}"/>
          </ac:spMkLst>
        </pc:spChg>
      </pc:sldChg>
      <pc:sldChg chg="delSp mod">
        <pc:chgData name="Batuhan Yildiz" userId="90f344fc-4655-4923-aeaf-697bba59c1a7" providerId="ADAL" clId="{8B90232F-8957-484F-A0F7-8097E8C2F192}" dt="2020-04-30T19:30:11.362" v="52" actId="478"/>
        <pc:sldMkLst>
          <pc:docMk/>
          <pc:sldMk cId="3033619648" sldId="653"/>
        </pc:sldMkLst>
        <pc:spChg chg="del">
          <ac:chgData name="Batuhan Yildiz" userId="90f344fc-4655-4923-aeaf-697bba59c1a7" providerId="ADAL" clId="{8B90232F-8957-484F-A0F7-8097E8C2F192}" dt="2020-04-30T19:30:11.362" v="52" actId="478"/>
          <ac:spMkLst>
            <pc:docMk/>
            <pc:sldMk cId="3033619648" sldId="653"/>
            <ac:spMk id="3" creationId="{46E6FFA2-8044-48D1-99C3-5361F8BA9553}"/>
          </ac:spMkLst>
        </pc:spChg>
      </pc:sldChg>
      <pc:sldChg chg="delSp mod">
        <pc:chgData name="Batuhan Yildiz" userId="90f344fc-4655-4923-aeaf-697bba59c1a7" providerId="ADAL" clId="{8B90232F-8957-484F-A0F7-8097E8C2F192}" dt="2020-04-30T19:30:39.727" v="54" actId="478"/>
        <pc:sldMkLst>
          <pc:docMk/>
          <pc:sldMk cId="1310352246" sldId="658"/>
        </pc:sldMkLst>
        <pc:spChg chg="del">
          <ac:chgData name="Batuhan Yildiz" userId="90f344fc-4655-4923-aeaf-697bba59c1a7" providerId="ADAL" clId="{8B90232F-8957-484F-A0F7-8097E8C2F192}" dt="2020-04-30T19:30:39.727" v="54" actId="478"/>
          <ac:spMkLst>
            <pc:docMk/>
            <pc:sldMk cId="1310352246" sldId="658"/>
            <ac:spMk id="3" creationId="{474730C4-8B3E-4012-A427-F717A866F17C}"/>
          </ac:spMkLst>
        </pc:spChg>
      </pc:sldChg>
      <pc:sldChg chg="delSp mod">
        <pc:chgData name="Batuhan Yildiz" userId="90f344fc-4655-4923-aeaf-697bba59c1a7" providerId="ADAL" clId="{8B90232F-8957-484F-A0F7-8097E8C2F192}" dt="2020-04-30T19:30:50.131" v="55" actId="478"/>
        <pc:sldMkLst>
          <pc:docMk/>
          <pc:sldMk cId="31603130" sldId="660"/>
        </pc:sldMkLst>
        <pc:spChg chg="del">
          <ac:chgData name="Batuhan Yildiz" userId="90f344fc-4655-4923-aeaf-697bba59c1a7" providerId="ADAL" clId="{8B90232F-8957-484F-A0F7-8097E8C2F192}" dt="2020-04-30T19:30:50.131" v="55" actId="478"/>
          <ac:spMkLst>
            <pc:docMk/>
            <pc:sldMk cId="31603130" sldId="660"/>
            <ac:spMk id="3" creationId="{474730C4-8B3E-4012-A427-F717A866F17C}"/>
          </ac:spMkLst>
        </pc:spChg>
      </pc:sldChg>
      <pc:sldChg chg="delSp mod">
        <pc:chgData name="Batuhan Yildiz" userId="90f344fc-4655-4923-aeaf-697bba59c1a7" providerId="ADAL" clId="{8B90232F-8957-484F-A0F7-8097E8C2F192}" dt="2020-04-30T19:31:12.305" v="57" actId="478"/>
        <pc:sldMkLst>
          <pc:docMk/>
          <pc:sldMk cId="2166726321" sldId="663"/>
        </pc:sldMkLst>
        <pc:spChg chg="del">
          <ac:chgData name="Batuhan Yildiz" userId="90f344fc-4655-4923-aeaf-697bba59c1a7" providerId="ADAL" clId="{8B90232F-8957-484F-A0F7-8097E8C2F192}" dt="2020-04-30T19:31:12.305" v="57" actId="478"/>
          <ac:spMkLst>
            <pc:docMk/>
            <pc:sldMk cId="2166726321" sldId="663"/>
            <ac:spMk id="3" creationId="{628AD08B-B186-4F59-816F-BCA73293376B}"/>
          </ac:spMkLst>
        </pc:spChg>
      </pc:sldChg>
      <pc:sldChg chg="modSp">
        <pc:chgData name="Batuhan Yildiz" userId="90f344fc-4655-4923-aeaf-697bba59c1a7" providerId="ADAL" clId="{8B90232F-8957-484F-A0F7-8097E8C2F192}" dt="2020-04-30T19:32:17.007" v="75" actId="12100"/>
        <pc:sldMkLst>
          <pc:docMk/>
          <pc:sldMk cId="2440299370" sldId="665"/>
        </pc:sldMkLst>
        <pc:graphicFrameChg chg="mod">
          <ac:chgData name="Batuhan Yildiz" userId="90f344fc-4655-4923-aeaf-697bba59c1a7" providerId="ADAL" clId="{8B90232F-8957-484F-A0F7-8097E8C2F192}" dt="2020-04-30T19:32:17.007" v="75" actId="12100"/>
          <ac:graphicFrameMkLst>
            <pc:docMk/>
            <pc:sldMk cId="2440299370" sldId="665"/>
            <ac:graphicFrameMk id="4" creationId="{C010948A-CA5F-4FF0-BE90-4036E70511A4}"/>
          </ac:graphicFrameMkLst>
        </pc:graphicFrameChg>
      </pc:sldChg>
      <pc:sldChg chg="modSp">
        <pc:chgData name="Batuhan Yildiz" userId="90f344fc-4655-4923-aeaf-697bba59c1a7" providerId="ADAL" clId="{8B90232F-8957-484F-A0F7-8097E8C2F192}" dt="2020-04-30T19:32:31.847" v="76" actId="12100"/>
        <pc:sldMkLst>
          <pc:docMk/>
          <pc:sldMk cId="2375800544" sldId="666"/>
        </pc:sldMkLst>
        <pc:graphicFrameChg chg="mod">
          <ac:chgData name="Batuhan Yildiz" userId="90f344fc-4655-4923-aeaf-697bba59c1a7" providerId="ADAL" clId="{8B90232F-8957-484F-A0F7-8097E8C2F192}" dt="2020-04-30T19:32:31.847" v="76" actId="12100"/>
          <ac:graphicFrameMkLst>
            <pc:docMk/>
            <pc:sldMk cId="2375800544" sldId="666"/>
            <ac:graphicFrameMk id="4" creationId="{E1A9A53E-CA74-4AA2-9AC2-F71FC08FDEDD}"/>
          </ac:graphicFrameMkLst>
        </pc:graphicFrameChg>
      </pc:sldChg>
      <pc:sldChg chg="modSp">
        <pc:chgData name="Batuhan Yildiz" userId="90f344fc-4655-4923-aeaf-697bba59c1a7" providerId="ADAL" clId="{8B90232F-8957-484F-A0F7-8097E8C2F192}" dt="2020-04-30T19:32:43.201" v="77" actId="12100"/>
        <pc:sldMkLst>
          <pc:docMk/>
          <pc:sldMk cId="3524499398" sldId="667"/>
        </pc:sldMkLst>
        <pc:graphicFrameChg chg="mod">
          <ac:chgData name="Batuhan Yildiz" userId="90f344fc-4655-4923-aeaf-697bba59c1a7" providerId="ADAL" clId="{8B90232F-8957-484F-A0F7-8097E8C2F192}" dt="2020-04-30T19:32:43.201" v="77" actId="12100"/>
          <ac:graphicFrameMkLst>
            <pc:docMk/>
            <pc:sldMk cId="3524499398" sldId="667"/>
            <ac:graphicFrameMk id="4" creationId="{714ACAEC-9E8B-4A03-9EED-D8B79A5F0FD9}"/>
          </ac:graphicFrameMkLst>
        </pc:graphicFrameChg>
      </pc:sldChg>
      <pc:sldChg chg="modSp">
        <pc:chgData name="Batuhan Yildiz" userId="90f344fc-4655-4923-aeaf-697bba59c1a7" providerId="ADAL" clId="{8B90232F-8957-484F-A0F7-8097E8C2F192}" dt="2020-04-30T19:33:07.135" v="78" actId="12100"/>
        <pc:sldMkLst>
          <pc:docMk/>
          <pc:sldMk cId="887741324" sldId="668"/>
        </pc:sldMkLst>
        <pc:graphicFrameChg chg="mod">
          <ac:chgData name="Batuhan Yildiz" userId="90f344fc-4655-4923-aeaf-697bba59c1a7" providerId="ADAL" clId="{8B90232F-8957-484F-A0F7-8097E8C2F192}" dt="2020-04-30T19:33:07.135" v="78" actId="12100"/>
          <ac:graphicFrameMkLst>
            <pc:docMk/>
            <pc:sldMk cId="887741324" sldId="668"/>
            <ac:graphicFrameMk id="4" creationId="{7A64B84F-B65F-4A59-9DFF-E4023C06A7D4}"/>
          </ac:graphicFrameMkLst>
        </pc:graphicFrameChg>
      </pc:sldChg>
      <pc:sldChg chg="addSp delSp modSp mod">
        <pc:chgData name="Batuhan Yildiz" userId="90f344fc-4655-4923-aeaf-697bba59c1a7" providerId="ADAL" clId="{8B90232F-8957-484F-A0F7-8097E8C2F192}" dt="2020-04-30T19:33:35.585" v="84" actId="12100"/>
        <pc:sldMkLst>
          <pc:docMk/>
          <pc:sldMk cId="470837864" sldId="669"/>
        </pc:sldMkLst>
        <pc:spChg chg="del">
          <ac:chgData name="Batuhan Yildiz" userId="90f344fc-4655-4923-aeaf-697bba59c1a7" providerId="ADAL" clId="{8B90232F-8957-484F-A0F7-8097E8C2F192}" dt="2020-04-30T19:33:25.787" v="82" actId="478"/>
          <ac:spMkLst>
            <pc:docMk/>
            <pc:sldMk cId="470837864" sldId="669"/>
            <ac:spMk id="3" creationId="{E3AEADD1-9001-4D8D-B748-97B98F1920CF}"/>
          </ac:spMkLst>
        </pc:spChg>
        <pc:graphicFrameChg chg="add del mod">
          <ac:chgData name="Batuhan Yildiz" userId="90f344fc-4655-4923-aeaf-697bba59c1a7" providerId="ADAL" clId="{8B90232F-8957-484F-A0F7-8097E8C2F192}" dt="2020-04-30T19:33:35.585" v="84" actId="12100"/>
          <ac:graphicFrameMkLst>
            <pc:docMk/>
            <pc:sldMk cId="470837864" sldId="669"/>
            <ac:graphicFrameMk id="5" creationId="{56A40BD8-D4C3-43A6-9C60-6217248992AD}"/>
          </ac:graphicFrameMkLst>
        </pc:graphicFrameChg>
      </pc:sldChg>
      <pc:sldChg chg="modSp">
        <pc:chgData name="Batuhan Yildiz" userId="90f344fc-4655-4923-aeaf-697bba59c1a7" providerId="ADAL" clId="{8B90232F-8957-484F-A0F7-8097E8C2F192}" dt="2020-04-30T19:34:15.567" v="93" actId="12100"/>
        <pc:sldMkLst>
          <pc:docMk/>
          <pc:sldMk cId="399891416" sldId="670"/>
        </pc:sldMkLst>
        <pc:graphicFrameChg chg="mod">
          <ac:chgData name="Batuhan Yildiz" userId="90f344fc-4655-4923-aeaf-697bba59c1a7" providerId="ADAL" clId="{8B90232F-8957-484F-A0F7-8097E8C2F192}" dt="2020-04-30T19:34:15.567" v="93" actId="12100"/>
          <ac:graphicFrameMkLst>
            <pc:docMk/>
            <pc:sldMk cId="399891416" sldId="670"/>
            <ac:graphicFrameMk id="4" creationId="{EC5DB4E3-48E3-4CC8-AFC4-EF6B9F6C959B}"/>
          </ac:graphicFrameMkLst>
        </pc:graphicFrameChg>
      </pc:sldChg>
      <pc:sldChg chg="modSp modAnim">
        <pc:chgData name="Batuhan Yildiz" userId="90f344fc-4655-4923-aeaf-697bba59c1a7" providerId="ADAL" clId="{8B90232F-8957-484F-A0F7-8097E8C2F192}" dt="2020-04-30T19:34:38.978" v="95" actId="12100"/>
        <pc:sldMkLst>
          <pc:docMk/>
          <pc:sldMk cId="746601626" sldId="671"/>
        </pc:sldMkLst>
        <pc:graphicFrameChg chg="mod">
          <ac:chgData name="Batuhan Yildiz" userId="90f344fc-4655-4923-aeaf-697bba59c1a7" providerId="ADAL" clId="{8B90232F-8957-484F-A0F7-8097E8C2F192}" dt="2020-04-30T19:34:38.978" v="95" actId="12100"/>
          <ac:graphicFrameMkLst>
            <pc:docMk/>
            <pc:sldMk cId="746601626" sldId="671"/>
            <ac:graphicFrameMk id="4" creationId="{D6E1570D-B47B-416F-A4B6-5B8579F2C28F}"/>
          </ac:graphicFrameMkLst>
        </pc:graphicFrameChg>
      </pc:sldChg>
      <pc:sldChg chg="modSp modAnim">
        <pc:chgData name="Batuhan Yildiz" userId="90f344fc-4655-4923-aeaf-697bba59c1a7" providerId="ADAL" clId="{8B90232F-8957-484F-A0F7-8097E8C2F192}" dt="2020-04-30T19:34:59.714" v="97" actId="12100"/>
        <pc:sldMkLst>
          <pc:docMk/>
          <pc:sldMk cId="3579828806" sldId="672"/>
        </pc:sldMkLst>
        <pc:graphicFrameChg chg="mod">
          <ac:chgData name="Batuhan Yildiz" userId="90f344fc-4655-4923-aeaf-697bba59c1a7" providerId="ADAL" clId="{8B90232F-8957-484F-A0F7-8097E8C2F192}" dt="2020-04-30T19:34:59.714" v="97" actId="12100"/>
          <ac:graphicFrameMkLst>
            <pc:docMk/>
            <pc:sldMk cId="3579828806" sldId="672"/>
            <ac:graphicFrameMk id="4" creationId="{127279D7-1651-4E95-802B-BB50DE0D437A}"/>
          </ac:graphicFrameMkLst>
        </pc:graphicFrameChg>
      </pc:sldChg>
      <pc:sldChg chg="delSp mod">
        <pc:chgData name="Batuhan Yildiz" userId="90f344fc-4655-4923-aeaf-697bba59c1a7" providerId="ADAL" clId="{8B90232F-8957-484F-A0F7-8097E8C2F192}" dt="2020-04-30T19:35:08.359" v="98" actId="478"/>
        <pc:sldMkLst>
          <pc:docMk/>
          <pc:sldMk cId="574796639" sldId="677"/>
        </pc:sldMkLst>
        <pc:spChg chg="del">
          <ac:chgData name="Batuhan Yildiz" userId="90f344fc-4655-4923-aeaf-697bba59c1a7" providerId="ADAL" clId="{8B90232F-8957-484F-A0F7-8097E8C2F192}" dt="2020-04-30T19:35:08.359" v="98" actId="478"/>
          <ac:spMkLst>
            <pc:docMk/>
            <pc:sldMk cId="574796639" sldId="677"/>
            <ac:spMk id="3" creationId="{0FE392BA-4614-4509-9AB7-D05A2AD0B74C}"/>
          </ac:spMkLst>
        </pc:spChg>
      </pc:sldChg>
    </pc:docChg>
  </pc:docChgLst>
  <pc:docChgLst>
    <pc:chgData name="Batuhan Yildiz" userId="90f344fc-4655-4923-aeaf-697bba59c1a7" providerId="ADAL" clId="{09848483-78CE-4528-B9F1-42C641828055}"/>
    <pc:docChg chg="undo custSel delSld modSld modSection">
      <pc:chgData name="Batuhan Yildiz" userId="90f344fc-4655-4923-aeaf-697bba59c1a7" providerId="ADAL" clId="{09848483-78CE-4528-B9F1-42C641828055}" dt="2020-03-31T01:19:10.075" v="319" actId="20577"/>
      <pc:docMkLst>
        <pc:docMk/>
      </pc:docMkLst>
      <pc:sldChg chg="modSp delCm modNotesTx">
        <pc:chgData name="Batuhan Yildiz" userId="90f344fc-4655-4923-aeaf-697bba59c1a7" providerId="ADAL" clId="{09848483-78CE-4528-B9F1-42C641828055}" dt="2020-03-31T01:19:10.075" v="319" actId="20577"/>
        <pc:sldMkLst>
          <pc:docMk/>
          <pc:sldMk cId="167837933" sldId="639"/>
        </pc:sldMkLst>
        <pc:graphicFrameChg chg="mod">
          <ac:chgData name="Batuhan Yildiz" userId="90f344fc-4655-4923-aeaf-697bba59c1a7" providerId="ADAL" clId="{09848483-78CE-4528-B9F1-42C641828055}" dt="2020-03-31T01:19:02.098" v="307" actId="14100"/>
          <ac:graphicFrameMkLst>
            <pc:docMk/>
            <pc:sldMk cId="167837933" sldId="639"/>
            <ac:graphicFrameMk id="3" creationId="{9484E1FE-7534-495E-863C-657A46F5E628}"/>
          </ac:graphicFrameMkLst>
        </pc:graphicFrameChg>
      </pc:sldChg>
      <pc:sldChg chg="modSp delCm">
        <pc:chgData name="Batuhan Yildiz" userId="90f344fc-4655-4923-aeaf-697bba59c1a7" providerId="ADAL" clId="{09848483-78CE-4528-B9F1-42C641828055}" dt="2020-03-31T01:18:12.085" v="281" actId="1592"/>
        <pc:sldMkLst>
          <pc:docMk/>
          <pc:sldMk cId="2643841819" sldId="644"/>
        </pc:sldMkLst>
        <pc:graphicFrameChg chg="mod">
          <ac:chgData name="Batuhan Yildiz" userId="90f344fc-4655-4923-aeaf-697bba59c1a7" providerId="ADAL" clId="{09848483-78CE-4528-B9F1-42C641828055}" dt="2020-03-31T01:04:01.803" v="83" actId="14100"/>
          <ac:graphicFrameMkLst>
            <pc:docMk/>
            <pc:sldMk cId="2643841819" sldId="644"/>
            <ac:graphicFrameMk id="3" creationId="{9484E1FE-7534-495E-863C-657A46F5E628}"/>
          </ac:graphicFrameMkLst>
        </pc:graphicFrameChg>
      </pc:sldChg>
      <pc:sldChg chg="modSp mod">
        <pc:chgData name="Batuhan Yildiz" userId="90f344fc-4655-4923-aeaf-697bba59c1a7" providerId="ADAL" clId="{09848483-78CE-4528-B9F1-42C641828055}" dt="2020-03-31T01:03:29.677" v="81" actId="1038"/>
        <pc:sldMkLst>
          <pc:docMk/>
          <pc:sldMk cId="3395117911" sldId="645"/>
        </pc:sldMkLst>
        <pc:spChg chg="mod">
          <ac:chgData name="Batuhan Yildiz" userId="90f344fc-4655-4923-aeaf-697bba59c1a7" providerId="ADAL" clId="{09848483-78CE-4528-B9F1-42C641828055}" dt="2020-03-31T01:03:14.150" v="76" actId="20577"/>
          <ac:spMkLst>
            <pc:docMk/>
            <pc:sldMk cId="3395117911" sldId="645"/>
            <ac:spMk id="3" creationId="{AE501DC3-FDD0-40DD-9670-EB73AA413A4A}"/>
          </ac:spMkLst>
        </pc:spChg>
        <pc:graphicFrameChg chg="mod">
          <ac:chgData name="Batuhan Yildiz" userId="90f344fc-4655-4923-aeaf-697bba59c1a7" providerId="ADAL" clId="{09848483-78CE-4528-B9F1-42C641828055}" dt="2020-03-31T01:03:29.677" v="81" actId="1038"/>
          <ac:graphicFrameMkLst>
            <pc:docMk/>
            <pc:sldMk cId="3395117911" sldId="645"/>
            <ac:graphicFrameMk id="6" creationId="{42493476-350B-4CF2-9C0D-2863689827C7}"/>
          </ac:graphicFrameMkLst>
        </pc:graphicFrameChg>
      </pc:sldChg>
      <pc:sldChg chg="modSp">
        <pc:chgData name="Batuhan Yildiz" userId="90f344fc-4655-4923-aeaf-697bba59c1a7" providerId="ADAL" clId="{09848483-78CE-4528-B9F1-42C641828055}" dt="2020-03-31T01:11:27.090" v="84" actId="12100"/>
        <pc:sldMkLst>
          <pc:docMk/>
          <pc:sldMk cId="1201192788" sldId="659"/>
        </pc:sldMkLst>
        <pc:graphicFrameChg chg="mod">
          <ac:chgData name="Batuhan Yildiz" userId="90f344fc-4655-4923-aeaf-697bba59c1a7" providerId="ADAL" clId="{09848483-78CE-4528-B9F1-42C641828055}" dt="2020-03-31T01:11:27.090" v="84" actId="12100"/>
          <ac:graphicFrameMkLst>
            <pc:docMk/>
            <pc:sldMk cId="1201192788" sldId="659"/>
            <ac:graphicFrameMk id="6" creationId="{1ABAC8BC-DE77-41FD-A659-C064591DB77D}"/>
          </ac:graphicFrameMkLst>
        </pc:graphicFrameChg>
      </pc:sldChg>
      <pc:sldChg chg="modSp">
        <pc:chgData name="Batuhan Yildiz" userId="90f344fc-4655-4923-aeaf-697bba59c1a7" providerId="ADAL" clId="{09848483-78CE-4528-B9F1-42C641828055}" dt="2020-03-31T01:12:29.219" v="85" actId="12100"/>
        <pc:sldMkLst>
          <pc:docMk/>
          <pc:sldMk cId="2724986010" sldId="662"/>
        </pc:sldMkLst>
        <pc:graphicFrameChg chg="mod">
          <ac:chgData name="Batuhan Yildiz" userId="90f344fc-4655-4923-aeaf-697bba59c1a7" providerId="ADAL" clId="{09848483-78CE-4528-B9F1-42C641828055}" dt="2020-03-31T01:12:29.219" v="85" actId="12100"/>
          <ac:graphicFrameMkLst>
            <pc:docMk/>
            <pc:sldMk cId="2724986010" sldId="662"/>
            <ac:graphicFrameMk id="5" creationId="{7ED4E0AB-7DCC-4BFD-8A85-33A31E02F1F6}"/>
          </ac:graphicFrameMkLst>
        </pc:graphicFrameChg>
      </pc:sldChg>
      <pc:sldChg chg="del">
        <pc:chgData name="Batuhan Yildiz" userId="90f344fc-4655-4923-aeaf-697bba59c1a7" providerId="ADAL" clId="{09848483-78CE-4528-B9F1-42C641828055}" dt="2020-03-31T01:17:08.861" v="280" actId="47"/>
        <pc:sldMkLst>
          <pc:docMk/>
          <pc:sldMk cId="3324324594" sldId="673"/>
        </pc:sldMkLst>
      </pc:sldChg>
      <pc:sldChg chg="addSp delSp modSp mod">
        <pc:chgData name="Batuhan Yildiz" userId="90f344fc-4655-4923-aeaf-697bba59c1a7" providerId="ADAL" clId="{09848483-78CE-4528-B9F1-42C641828055}" dt="2020-03-31T01:17:03.094" v="279" actId="1037"/>
        <pc:sldMkLst>
          <pc:docMk/>
          <pc:sldMk cId="574796639" sldId="677"/>
        </pc:sldMkLst>
        <pc:spChg chg="mod">
          <ac:chgData name="Batuhan Yildiz" userId="90f344fc-4655-4923-aeaf-697bba59c1a7" providerId="ADAL" clId="{09848483-78CE-4528-B9F1-42C641828055}" dt="2020-03-31T01:16:05.600" v="124"/>
          <ac:spMkLst>
            <pc:docMk/>
            <pc:sldMk cId="574796639" sldId="677"/>
            <ac:spMk id="3" creationId="{0FE392BA-4614-4509-9AB7-D05A2AD0B74C}"/>
          </ac:spMkLst>
        </pc:spChg>
        <pc:graphicFrameChg chg="del modGraphic">
          <ac:chgData name="Batuhan Yildiz" userId="90f344fc-4655-4923-aeaf-697bba59c1a7" providerId="ADAL" clId="{09848483-78CE-4528-B9F1-42C641828055}" dt="2020-03-31T01:15:39.379" v="119" actId="478"/>
          <ac:graphicFrameMkLst>
            <pc:docMk/>
            <pc:sldMk cId="574796639" sldId="677"/>
            <ac:graphicFrameMk id="4" creationId="{5FD8D9C9-FB31-4D19-8C80-2ABFD9E35A71}"/>
          </ac:graphicFrameMkLst>
        </pc:graphicFrameChg>
        <pc:graphicFrameChg chg="add del">
          <ac:chgData name="Batuhan Yildiz" userId="90f344fc-4655-4923-aeaf-697bba59c1a7" providerId="ADAL" clId="{09848483-78CE-4528-B9F1-42C641828055}" dt="2020-03-31T01:15:49.601" v="121" actId="22"/>
          <ac:graphicFrameMkLst>
            <pc:docMk/>
            <pc:sldMk cId="574796639" sldId="677"/>
            <ac:graphicFrameMk id="6" creationId="{AB3F297D-7808-4310-B0A1-4C427393DD71}"/>
          </ac:graphicFrameMkLst>
        </pc:graphicFrameChg>
        <pc:graphicFrameChg chg="add mod modGraphic">
          <ac:chgData name="Batuhan Yildiz" userId="90f344fc-4655-4923-aeaf-697bba59c1a7" providerId="ADAL" clId="{09848483-78CE-4528-B9F1-42C641828055}" dt="2020-03-31T01:17:03.094" v="279" actId="1037"/>
          <ac:graphicFrameMkLst>
            <pc:docMk/>
            <pc:sldMk cId="574796639" sldId="677"/>
            <ac:graphicFrameMk id="7" creationId="{80CB663F-A664-4D13-B6BF-AAC883034B13}"/>
          </ac:graphicFrameMkLst>
        </pc:graphicFrameChg>
      </pc:sldChg>
    </pc:docChg>
  </pc:docChgLst>
  <pc:docChgLst>
    <pc:chgData name="Rizwan Hassan" userId="04ec4a88-24aa-4abd-b901-af898e55845d" providerId="ADAL" clId="{EBA36DC1-AF99-48B8-A910-AFAB6C4165BF}"/>
    <pc:docChg chg="custSel modSld">
      <pc:chgData name="Rizwan Hassan" userId="04ec4a88-24aa-4abd-b901-af898e55845d" providerId="ADAL" clId="{EBA36DC1-AF99-48B8-A910-AFAB6C4165BF}" dt="2020-10-15T20:21:30.489" v="16"/>
      <pc:docMkLst>
        <pc:docMk/>
      </pc:docMkLst>
      <pc:sldChg chg="addSp delSp modSp mod modAnim">
        <pc:chgData name="Rizwan Hassan" userId="04ec4a88-24aa-4abd-b901-af898e55845d" providerId="ADAL" clId="{EBA36DC1-AF99-48B8-A910-AFAB6C4165BF}" dt="2020-10-15T20:21:30.489" v="16"/>
        <pc:sldMkLst>
          <pc:docMk/>
          <pc:sldMk cId="4244268147" sldId="652"/>
        </pc:sldMkLst>
        <pc:graphicFrameChg chg="mod">
          <ac:chgData name="Rizwan Hassan" userId="04ec4a88-24aa-4abd-b901-af898e55845d" providerId="ADAL" clId="{EBA36DC1-AF99-48B8-A910-AFAB6C4165BF}" dt="2020-10-15T20:21:30.489" v="16"/>
          <ac:graphicFrameMkLst>
            <pc:docMk/>
            <pc:sldMk cId="4244268147" sldId="652"/>
            <ac:graphicFrameMk id="5" creationId="{BD98BFF2-94F9-49E0-AF70-E5BAFDA94445}"/>
          </ac:graphicFrameMkLst>
        </pc:graphicFrameChg>
        <pc:picChg chg="del">
          <ac:chgData name="Rizwan Hassan" userId="04ec4a88-24aa-4abd-b901-af898e55845d" providerId="ADAL" clId="{EBA36DC1-AF99-48B8-A910-AFAB6C4165BF}" dt="2020-10-15T20:13:56.297" v="0" actId="478"/>
          <ac:picMkLst>
            <pc:docMk/>
            <pc:sldMk cId="4244268147" sldId="652"/>
            <ac:picMk id="4" creationId="{B5B34619-16A5-4A4B-805D-66297A72E7FA}"/>
          </ac:picMkLst>
        </pc:picChg>
        <pc:picChg chg="add mod">
          <ac:chgData name="Rizwan Hassan" userId="04ec4a88-24aa-4abd-b901-af898e55845d" providerId="ADAL" clId="{EBA36DC1-AF99-48B8-A910-AFAB6C4165BF}" dt="2020-10-15T20:20:50.262" v="15" actId="1076"/>
          <ac:picMkLst>
            <pc:docMk/>
            <pc:sldMk cId="4244268147" sldId="652"/>
            <ac:picMk id="6" creationId="{662BC782-A931-4AF3-BA7C-12C9777B03CD}"/>
          </ac:picMkLst>
        </pc:picChg>
      </pc:sldChg>
    </pc:docChg>
  </pc:docChgLst>
</pc:chgInfo>
</file>

<file path=ppt/diagrams/_rels/data19.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svg"/><Relationship Id="rId2" Type="http://schemas.openxmlformats.org/officeDocument/2006/relationships/image" Target="../media/image32.svg"/><Relationship Id="rId1" Type="http://schemas.openxmlformats.org/officeDocument/2006/relationships/image" Target="../media/image31.png"/><Relationship Id="rId6" Type="http://schemas.openxmlformats.org/officeDocument/2006/relationships/image" Target="../media/image36.sv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svg"/><Relationship Id="rId4" Type="http://schemas.openxmlformats.org/officeDocument/2006/relationships/image" Target="../media/image34.svg"/><Relationship Id="rId9" Type="http://schemas.openxmlformats.org/officeDocument/2006/relationships/image" Target="../media/image39.png"/></Relationships>
</file>

<file path=ppt/diagrams/_rels/data24.xml.rels><?xml version="1.0" encoding="UTF-8" standalone="yes"?>
<Relationships xmlns="http://schemas.openxmlformats.org/package/2006/relationships"><Relationship Id="rId1" Type="http://schemas.openxmlformats.org/officeDocument/2006/relationships/hyperlink" Target="https://xxxx.blob.core.windows.net/xe-container" TargetMode="External"/></Relationships>
</file>

<file path=ppt/diagrams/_rels/drawing19.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svg"/><Relationship Id="rId2" Type="http://schemas.openxmlformats.org/officeDocument/2006/relationships/image" Target="../media/image32.svg"/><Relationship Id="rId1" Type="http://schemas.openxmlformats.org/officeDocument/2006/relationships/image" Target="../media/image31.png"/><Relationship Id="rId6" Type="http://schemas.openxmlformats.org/officeDocument/2006/relationships/image" Target="../media/image36.sv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svg"/><Relationship Id="rId4" Type="http://schemas.openxmlformats.org/officeDocument/2006/relationships/image" Target="../media/image34.svg"/><Relationship Id="rId9" Type="http://schemas.openxmlformats.org/officeDocument/2006/relationships/image" Target="../media/image39.png"/></Relationships>
</file>

<file path=ppt/diagrams/_rels/drawing24.xml.rels><?xml version="1.0" encoding="UTF-8" standalone="yes"?>
<Relationships xmlns="http://schemas.openxmlformats.org/package/2006/relationships"><Relationship Id="rId1" Type="http://schemas.openxmlformats.org/officeDocument/2006/relationships/hyperlink" Target="https://xxxx.blob.core.windows.net/xe-container"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161579A-5A9E-481E-9799-286EA9BF21D7}" type="doc">
      <dgm:prSet loTypeId="urn:microsoft.com/office/officeart/2005/8/layout/default" loCatId="list" qsTypeId="urn:microsoft.com/office/officeart/2005/8/quickstyle/simple1" qsCatId="simple" csTypeId="urn:microsoft.com/office/officeart/2005/8/colors/accent1_2" csCatId="accent1"/>
      <dgm:spPr/>
      <dgm:t>
        <a:bodyPr/>
        <a:lstStyle/>
        <a:p>
          <a:endParaRPr lang="en-US"/>
        </a:p>
      </dgm:t>
    </dgm:pt>
    <dgm:pt modelId="{CDB9D5B5-4733-447E-A28E-2638EF74A313}">
      <dgm:prSet custT="1"/>
      <dgm:spPr/>
      <dgm:t>
        <a:bodyPr/>
        <a:lstStyle/>
        <a:p>
          <a:r>
            <a:rPr lang="en-US" sz="2400" dirty="0"/>
            <a:t>Database Connectivity</a:t>
          </a:r>
        </a:p>
      </dgm:t>
    </dgm:pt>
    <dgm:pt modelId="{8D960799-A48E-4009-9537-E1078CBBF5E3}" type="parTrans" cxnId="{666E09FE-959E-46D0-ABA8-37DFC2207EF1}">
      <dgm:prSet/>
      <dgm:spPr/>
      <dgm:t>
        <a:bodyPr/>
        <a:lstStyle/>
        <a:p>
          <a:endParaRPr lang="en-US"/>
        </a:p>
      </dgm:t>
    </dgm:pt>
    <dgm:pt modelId="{E12FB09A-01F0-45C4-BD8C-27EBC547CFAC}" type="sibTrans" cxnId="{666E09FE-959E-46D0-ABA8-37DFC2207EF1}">
      <dgm:prSet/>
      <dgm:spPr/>
      <dgm:t>
        <a:bodyPr/>
        <a:lstStyle/>
        <a:p>
          <a:endParaRPr lang="en-US"/>
        </a:p>
      </dgm:t>
    </dgm:pt>
    <dgm:pt modelId="{B2A42213-B7D4-42A8-BD17-864A011C840C}">
      <dgm:prSet custT="1"/>
      <dgm:spPr/>
      <dgm:t>
        <a:bodyPr/>
        <a:lstStyle/>
        <a:p>
          <a:r>
            <a:rPr lang="en-US" sz="2400" dirty="0"/>
            <a:t>High DTU Percentage</a:t>
          </a:r>
        </a:p>
      </dgm:t>
    </dgm:pt>
    <dgm:pt modelId="{16FFE143-9268-41A2-A117-DDB7B33A5F7D}" type="parTrans" cxnId="{7130B487-E69F-4A15-B892-EF469B1AA734}">
      <dgm:prSet/>
      <dgm:spPr/>
      <dgm:t>
        <a:bodyPr/>
        <a:lstStyle/>
        <a:p>
          <a:endParaRPr lang="en-US"/>
        </a:p>
      </dgm:t>
    </dgm:pt>
    <dgm:pt modelId="{46069485-BB83-4BD8-8C5A-14E45FEC6EBD}" type="sibTrans" cxnId="{7130B487-E69F-4A15-B892-EF469B1AA734}">
      <dgm:prSet/>
      <dgm:spPr/>
      <dgm:t>
        <a:bodyPr/>
        <a:lstStyle/>
        <a:p>
          <a:endParaRPr lang="en-US"/>
        </a:p>
      </dgm:t>
    </dgm:pt>
    <dgm:pt modelId="{0321599E-0DB1-4A8F-8052-07CA90527BD9}">
      <dgm:prSet custT="1"/>
      <dgm:spPr/>
      <dgm:t>
        <a:bodyPr/>
        <a:lstStyle/>
        <a:p>
          <a:r>
            <a:rPr lang="en-US" sz="2400" dirty="0"/>
            <a:t>Query Timeouts</a:t>
          </a:r>
        </a:p>
      </dgm:t>
    </dgm:pt>
    <dgm:pt modelId="{AAE615D0-28A5-4085-B164-4ED7E7F8D7AD}" type="parTrans" cxnId="{A84214A8-F2DB-44D2-8D96-DA12B61B72F5}">
      <dgm:prSet/>
      <dgm:spPr/>
      <dgm:t>
        <a:bodyPr/>
        <a:lstStyle/>
        <a:p>
          <a:endParaRPr lang="en-US"/>
        </a:p>
      </dgm:t>
    </dgm:pt>
    <dgm:pt modelId="{EA9AE2F1-A83E-491B-B616-7749A81FE604}" type="sibTrans" cxnId="{A84214A8-F2DB-44D2-8D96-DA12B61B72F5}">
      <dgm:prSet/>
      <dgm:spPr/>
      <dgm:t>
        <a:bodyPr/>
        <a:lstStyle/>
        <a:p>
          <a:endParaRPr lang="en-US"/>
        </a:p>
      </dgm:t>
    </dgm:pt>
    <dgm:pt modelId="{15A02782-BFD1-46AF-BB9A-5953114A9D54}">
      <dgm:prSet custT="1"/>
      <dgm:spPr/>
      <dgm:t>
        <a:bodyPr/>
        <a:lstStyle/>
        <a:p>
          <a:r>
            <a:rPr lang="en-US" sz="2400"/>
            <a:t>Deadlocks</a:t>
          </a:r>
        </a:p>
      </dgm:t>
    </dgm:pt>
    <dgm:pt modelId="{3A56A9E5-B1F6-4664-949A-85AC2FBB1947}" type="parTrans" cxnId="{86FA1560-8AEE-4666-8490-3CD0849A5FEB}">
      <dgm:prSet/>
      <dgm:spPr/>
      <dgm:t>
        <a:bodyPr/>
        <a:lstStyle/>
        <a:p>
          <a:endParaRPr lang="en-US"/>
        </a:p>
      </dgm:t>
    </dgm:pt>
    <dgm:pt modelId="{C1C10312-6B01-40DE-95EF-C19A441DE62F}" type="sibTrans" cxnId="{86FA1560-8AEE-4666-8490-3CD0849A5FEB}">
      <dgm:prSet/>
      <dgm:spPr/>
      <dgm:t>
        <a:bodyPr/>
        <a:lstStyle/>
        <a:p>
          <a:endParaRPr lang="en-US"/>
        </a:p>
      </dgm:t>
    </dgm:pt>
    <dgm:pt modelId="{3CC7D2CA-EE89-4F02-949A-E48452AB107C}">
      <dgm:prSet custT="1"/>
      <dgm:spPr/>
      <dgm:t>
        <a:bodyPr/>
        <a:lstStyle/>
        <a:p>
          <a:r>
            <a:rPr lang="en-US" sz="2400" dirty="0"/>
            <a:t>Database Storage consumption</a:t>
          </a:r>
        </a:p>
      </dgm:t>
    </dgm:pt>
    <dgm:pt modelId="{0E92C33B-606E-4CA4-9226-A1370A17E2FB}" type="parTrans" cxnId="{D1D17160-35B8-4CF3-A7A4-246C7B179EA9}">
      <dgm:prSet/>
      <dgm:spPr/>
      <dgm:t>
        <a:bodyPr/>
        <a:lstStyle/>
        <a:p>
          <a:endParaRPr lang="en-US"/>
        </a:p>
      </dgm:t>
    </dgm:pt>
    <dgm:pt modelId="{489C9128-2A04-4862-8500-7F4290EE1D03}" type="sibTrans" cxnId="{D1D17160-35B8-4CF3-A7A4-246C7B179EA9}">
      <dgm:prSet/>
      <dgm:spPr/>
      <dgm:t>
        <a:bodyPr/>
        <a:lstStyle/>
        <a:p>
          <a:endParaRPr lang="en-US"/>
        </a:p>
      </dgm:t>
    </dgm:pt>
    <dgm:pt modelId="{9AF5D194-8F93-4D6A-BC73-E31333EC676A}">
      <dgm:prSet custT="1"/>
      <dgm:spPr/>
      <dgm:t>
        <a:bodyPr/>
        <a:lstStyle/>
        <a:p>
          <a:r>
            <a:rPr lang="en-US" sz="2400" dirty="0"/>
            <a:t>Slow Queries</a:t>
          </a:r>
        </a:p>
      </dgm:t>
    </dgm:pt>
    <dgm:pt modelId="{2A236EA2-17E5-4548-8E07-C5011DA974D4}" type="parTrans" cxnId="{A8687CA9-EEB2-4511-967C-75718CF8FB37}">
      <dgm:prSet/>
      <dgm:spPr/>
      <dgm:t>
        <a:bodyPr/>
        <a:lstStyle/>
        <a:p>
          <a:endParaRPr lang="en-US"/>
        </a:p>
      </dgm:t>
    </dgm:pt>
    <dgm:pt modelId="{54E495CA-23F2-4AB6-8F95-7386D0CF0494}" type="sibTrans" cxnId="{A8687CA9-EEB2-4511-967C-75718CF8FB37}">
      <dgm:prSet/>
      <dgm:spPr/>
      <dgm:t>
        <a:bodyPr/>
        <a:lstStyle/>
        <a:p>
          <a:endParaRPr lang="en-US"/>
        </a:p>
      </dgm:t>
    </dgm:pt>
    <dgm:pt modelId="{5DB1BB4B-F3CE-4B7E-827B-15808532D509}" type="pres">
      <dgm:prSet presAssocID="{9161579A-5A9E-481E-9799-286EA9BF21D7}" presName="diagram" presStyleCnt="0">
        <dgm:presLayoutVars>
          <dgm:dir/>
          <dgm:resizeHandles val="exact"/>
        </dgm:presLayoutVars>
      </dgm:prSet>
      <dgm:spPr/>
    </dgm:pt>
    <dgm:pt modelId="{2CA6CD9E-3474-488A-AE30-A03CBDBFBD6A}" type="pres">
      <dgm:prSet presAssocID="{CDB9D5B5-4733-447E-A28E-2638EF74A313}" presName="node" presStyleLbl="node1" presStyleIdx="0" presStyleCnt="6">
        <dgm:presLayoutVars>
          <dgm:bulletEnabled val="1"/>
        </dgm:presLayoutVars>
      </dgm:prSet>
      <dgm:spPr/>
    </dgm:pt>
    <dgm:pt modelId="{B13D6BA4-5E3C-450E-9A2B-EE849F348300}" type="pres">
      <dgm:prSet presAssocID="{E12FB09A-01F0-45C4-BD8C-27EBC547CFAC}" presName="sibTrans" presStyleCnt="0"/>
      <dgm:spPr/>
    </dgm:pt>
    <dgm:pt modelId="{D3DDDFFF-1095-463D-8650-0C7EEDE1340B}" type="pres">
      <dgm:prSet presAssocID="{B2A42213-B7D4-42A8-BD17-864A011C840C}" presName="node" presStyleLbl="node1" presStyleIdx="1" presStyleCnt="6">
        <dgm:presLayoutVars>
          <dgm:bulletEnabled val="1"/>
        </dgm:presLayoutVars>
      </dgm:prSet>
      <dgm:spPr/>
    </dgm:pt>
    <dgm:pt modelId="{1CE2E08A-76F3-42F9-A983-E5B1E986E0C5}" type="pres">
      <dgm:prSet presAssocID="{46069485-BB83-4BD8-8C5A-14E45FEC6EBD}" presName="sibTrans" presStyleCnt="0"/>
      <dgm:spPr/>
    </dgm:pt>
    <dgm:pt modelId="{32DFFDF1-5027-4F59-A3CB-6FD39BDA3403}" type="pres">
      <dgm:prSet presAssocID="{0321599E-0DB1-4A8F-8052-07CA90527BD9}" presName="node" presStyleLbl="node1" presStyleIdx="2" presStyleCnt="6">
        <dgm:presLayoutVars>
          <dgm:bulletEnabled val="1"/>
        </dgm:presLayoutVars>
      </dgm:prSet>
      <dgm:spPr/>
    </dgm:pt>
    <dgm:pt modelId="{2AD54A16-A623-43DB-8BB7-1AED420116BB}" type="pres">
      <dgm:prSet presAssocID="{EA9AE2F1-A83E-491B-B616-7749A81FE604}" presName="sibTrans" presStyleCnt="0"/>
      <dgm:spPr/>
    </dgm:pt>
    <dgm:pt modelId="{7A75BAC4-91C4-4408-9E1E-A7050CEAFEA7}" type="pres">
      <dgm:prSet presAssocID="{15A02782-BFD1-46AF-BB9A-5953114A9D54}" presName="node" presStyleLbl="node1" presStyleIdx="3" presStyleCnt="6">
        <dgm:presLayoutVars>
          <dgm:bulletEnabled val="1"/>
        </dgm:presLayoutVars>
      </dgm:prSet>
      <dgm:spPr/>
    </dgm:pt>
    <dgm:pt modelId="{6ADD50E8-D2B5-4C6F-BB66-078D79F883A9}" type="pres">
      <dgm:prSet presAssocID="{C1C10312-6B01-40DE-95EF-C19A441DE62F}" presName="sibTrans" presStyleCnt="0"/>
      <dgm:spPr/>
    </dgm:pt>
    <dgm:pt modelId="{353B7A8F-2B4E-44F9-9459-7DCDD549ADA8}" type="pres">
      <dgm:prSet presAssocID="{3CC7D2CA-EE89-4F02-949A-E48452AB107C}" presName="node" presStyleLbl="node1" presStyleIdx="4" presStyleCnt="6">
        <dgm:presLayoutVars>
          <dgm:bulletEnabled val="1"/>
        </dgm:presLayoutVars>
      </dgm:prSet>
      <dgm:spPr/>
    </dgm:pt>
    <dgm:pt modelId="{32BD8F86-5BE5-41E7-BBD9-B111497451E0}" type="pres">
      <dgm:prSet presAssocID="{489C9128-2A04-4862-8500-7F4290EE1D03}" presName="sibTrans" presStyleCnt="0"/>
      <dgm:spPr/>
    </dgm:pt>
    <dgm:pt modelId="{867072E5-4A67-4D1D-8267-B35E1DF1348E}" type="pres">
      <dgm:prSet presAssocID="{9AF5D194-8F93-4D6A-BC73-E31333EC676A}" presName="node" presStyleLbl="node1" presStyleIdx="5" presStyleCnt="6">
        <dgm:presLayoutVars>
          <dgm:bulletEnabled val="1"/>
        </dgm:presLayoutVars>
      </dgm:prSet>
      <dgm:spPr/>
    </dgm:pt>
  </dgm:ptLst>
  <dgm:cxnLst>
    <dgm:cxn modelId="{86FA1560-8AEE-4666-8490-3CD0849A5FEB}" srcId="{9161579A-5A9E-481E-9799-286EA9BF21D7}" destId="{15A02782-BFD1-46AF-BB9A-5953114A9D54}" srcOrd="3" destOrd="0" parTransId="{3A56A9E5-B1F6-4664-949A-85AC2FBB1947}" sibTransId="{C1C10312-6B01-40DE-95EF-C19A441DE62F}"/>
    <dgm:cxn modelId="{D1D17160-35B8-4CF3-A7A4-246C7B179EA9}" srcId="{9161579A-5A9E-481E-9799-286EA9BF21D7}" destId="{3CC7D2CA-EE89-4F02-949A-E48452AB107C}" srcOrd="4" destOrd="0" parTransId="{0E92C33B-606E-4CA4-9226-A1370A17E2FB}" sibTransId="{489C9128-2A04-4862-8500-7F4290EE1D03}"/>
    <dgm:cxn modelId="{B55A5468-0414-440C-B5B5-364F4AED3B04}" type="presOf" srcId="{9AF5D194-8F93-4D6A-BC73-E31333EC676A}" destId="{867072E5-4A67-4D1D-8267-B35E1DF1348E}" srcOrd="0" destOrd="0" presId="urn:microsoft.com/office/officeart/2005/8/layout/default"/>
    <dgm:cxn modelId="{ED92A383-DF9C-4DE2-ADEA-D86733EC8E87}" type="presOf" srcId="{3CC7D2CA-EE89-4F02-949A-E48452AB107C}" destId="{353B7A8F-2B4E-44F9-9459-7DCDD549ADA8}" srcOrd="0" destOrd="0" presId="urn:microsoft.com/office/officeart/2005/8/layout/default"/>
    <dgm:cxn modelId="{7130B487-E69F-4A15-B892-EF469B1AA734}" srcId="{9161579A-5A9E-481E-9799-286EA9BF21D7}" destId="{B2A42213-B7D4-42A8-BD17-864A011C840C}" srcOrd="1" destOrd="0" parTransId="{16FFE143-9268-41A2-A117-DDB7B33A5F7D}" sibTransId="{46069485-BB83-4BD8-8C5A-14E45FEC6EBD}"/>
    <dgm:cxn modelId="{A84214A8-F2DB-44D2-8D96-DA12B61B72F5}" srcId="{9161579A-5A9E-481E-9799-286EA9BF21D7}" destId="{0321599E-0DB1-4A8F-8052-07CA90527BD9}" srcOrd="2" destOrd="0" parTransId="{AAE615D0-28A5-4085-B164-4ED7E7F8D7AD}" sibTransId="{EA9AE2F1-A83E-491B-B616-7749A81FE604}"/>
    <dgm:cxn modelId="{A8687CA9-EEB2-4511-967C-75718CF8FB37}" srcId="{9161579A-5A9E-481E-9799-286EA9BF21D7}" destId="{9AF5D194-8F93-4D6A-BC73-E31333EC676A}" srcOrd="5" destOrd="0" parTransId="{2A236EA2-17E5-4548-8E07-C5011DA974D4}" sibTransId="{54E495CA-23F2-4AB6-8F95-7386D0CF0494}"/>
    <dgm:cxn modelId="{FD5481BD-EE10-443A-B75D-F1E1F1EF9F75}" type="presOf" srcId="{CDB9D5B5-4733-447E-A28E-2638EF74A313}" destId="{2CA6CD9E-3474-488A-AE30-A03CBDBFBD6A}" srcOrd="0" destOrd="0" presId="urn:microsoft.com/office/officeart/2005/8/layout/default"/>
    <dgm:cxn modelId="{160B65BE-DC5D-4F7A-B61E-C82AD63E6FB0}" type="presOf" srcId="{15A02782-BFD1-46AF-BB9A-5953114A9D54}" destId="{7A75BAC4-91C4-4408-9E1E-A7050CEAFEA7}" srcOrd="0" destOrd="0" presId="urn:microsoft.com/office/officeart/2005/8/layout/default"/>
    <dgm:cxn modelId="{042D9ED0-D92D-4CC6-9790-92C913A7DD50}" type="presOf" srcId="{0321599E-0DB1-4A8F-8052-07CA90527BD9}" destId="{32DFFDF1-5027-4F59-A3CB-6FD39BDA3403}" srcOrd="0" destOrd="0" presId="urn:microsoft.com/office/officeart/2005/8/layout/default"/>
    <dgm:cxn modelId="{D45B18DB-CEC0-46B9-AF47-0C5AEC9548A7}" type="presOf" srcId="{B2A42213-B7D4-42A8-BD17-864A011C840C}" destId="{D3DDDFFF-1095-463D-8650-0C7EEDE1340B}" srcOrd="0" destOrd="0" presId="urn:microsoft.com/office/officeart/2005/8/layout/default"/>
    <dgm:cxn modelId="{3D6470EC-9019-4EF3-AD9B-78EC340CF798}" type="presOf" srcId="{9161579A-5A9E-481E-9799-286EA9BF21D7}" destId="{5DB1BB4B-F3CE-4B7E-827B-15808532D509}" srcOrd="0" destOrd="0" presId="urn:microsoft.com/office/officeart/2005/8/layout/default"/>
    <dgm:cxn modelId="{666E09FE-959E-46D0-ABA8-37DFC2207EF1}" srcId="{9161579A-5A9E-481E-9799-286EA9BF21D7}" destId="{CDB9D5B5-4733-447E-A28E-2638EF74A313}" srcOrd="0" destOrd="0" parTransId="{8D960799-A48E-4009-9537-E1078CBBF5E3}" sibTransId="{E12FB09A-01F0-45C4-BD8C-27EBC547CFAC}"/>
    <dgm:cxn modelId="{7EB8DDB5-E198-4B94-A980-CAF1092FA2D0}" type="presParOf" srcId="{5DB1BB4B-F3CE-4B7E-827B-15808532D509}" destId="{2CA6CD9E-3474-488A-AE30-A03CBDBFBD6A}" srcOrd="0" destOrd="0" presId="urn:microsoft.com/office/officeart/2005/8/layout/default"/>
    <dgm:cxn modelId="{6CE4FCC3-617F-4AE4-9134-2186C406A856}" type="presParOf" srcId="{5DB1BB4B-F3CE-4B7E-827B-15808532D509}" destId="{B13D6BA4-5E3C-450E-9A2B-EE849F348300}" srcOrd="1" destOrd="0" presId="urn:microsoft.com/office/officeart/2005/8/layout/default"/>
    <dgm:cxn modelId="{BD0F4901-903E-4CB4-819A-36766B156156}" type="presParOf" srcId="{5DB1BB4B-F3CE-4B7E-827B-15808532D509}" destId="{D3DDDFFF-1095-463D-8650-0C7EEDE1340B}" srcOrd="2" destOrd="0" presId="urn:microsoft.com/office/officeart/2005/8/layout/default"/>
    <dgm:cxn modelId="{50A83AC0-25A5-4F54-9952-3E48F9040248}" type="presParOf" srcId="{5DB1BB4B-F3CE-4B7E-827B-15808532D509}" destId="{1CE2E08A-76F3-42F9-A983-E5B1E986E0C5}" srcOrd="3" destOrd="0" presId="urn:microsoft.com/office/officeart/2005/8/layout/default"/>
    <dgm:cxn modelId="{73907326-DB15-4B78-8AD3-FFD9D23BAAB4}" type="presParOf" srcId="{5DB1BB4B-F3CE-4B7E-827B-15808532D509}" destId="{32DFFDF1-5027-4F59-A3CB-6FD39BDA3403}" srcOrd="4" destOrd="0" presId="urn:microsoft.com/office/officeart/2005/8/layout/default"/>
    <dgm:cxn modelId="{1848CE18-7F0D-4E86-8844-7811B61750A8}" type="presParOf" srcId="{5DB1BB4B-F3CE-4B7E-827B-15808532D509}" destId="{2AD54A16-A623-43DB-8BB7-1AED420116BB}" srcOrd="5" destOrd="0" presId="urn:microsoft.com/office/officeart/2005/8/layout/default"/>
    <dgm:cxn modelId="{6935357F-9F5F-4F6E-A020-CD14323EC7EA}" type="presParOf" srcId="{5DB1BB4B-F3CE-4B7E-827B-15808532D509}" destId="{7A75BAC4-91C4-4408-9E1E-A7050CEAFEA7}" srcOrd="6" destOrd="0" presId="urn:microsoft.com/office/officeart/2005/8/layout/default"/>
    <dgm:cxn modelId="{0D4E64CD-5656-44C0-B741-B8A9CB1B23E5}" type="presParOf" srcId="{5DB1BB4B-F3CE-4B7E-827B-15808532D509}" destId="{6ADD50E8-D2B5-4C6F-BB66-078D79F883A9}" srcOrd="7" destOrd="0" presId="urn:microsoft.com/office/officeart/2005/8/layout/default"/>
    <dgm:cxn modelId="{13569D2D-5E7B-4539-B0DA-A0E079DF2D08}" type="presParOf" srcId="{5DB1BB4B-F3CE-4B7E-827B-15808532D509}" destId="{353B7A8F-2B4E-44F9-9459-7DCDD549ADA8}" srcOrd="8" destOrd="0" presId="urn:microsoft.com/office/officeart/2005/8/layout/default"/>
    <dgm:cxn modelId="{3CB9E182-E534-4E0F-8F05-7982289B1727}" type="presParOf" srcId="{5DB1BB4B-F3CE-4B7E-827B-15808532D509}" destId="{32BD8F86-5BE5-41E7-BBD9-B111497451E0}" srcOrd="9" destOrd="0" presId="urn:microsoft.com/office/officeart/2005/8/layout/default"/>
    <dgm:cxn modelId="{E7A6B3AA-10C8-4F38-98FD-E474DBB4CB94}" type="presParOf" srcId="{5DB1BB4B-F3CE-4B7E-827B-15808532D509}" destId="{867072E5-4A67-4D1D-8267-B35E1DF1348E}"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59BC0D0-5682-4F6C-87C8-DFEAB89D883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2BEBC5F-871A-4875-B7D5-AAC0896BB920}">
      <dgm:prSet/>
      <dgm:spPr/>
      <dgm:t>
        <a:bodyPr/>
        <a:lstStyle/>
        <a:p>
          <a:r>
            <a:rPr lang="en-GB" b="1" dirty="0"/>
            <a:t>Force Last Good Plan:</a:t>
          </a:r>
          <a:r>
            <a:rPr lang="en-GB" dirty="0"/>
            <a:t> </a:t>
          </a:r>
          <a:endParaRPr lang="en-US" dirty="0"/>
        </a:p>
      </dgm:t>
    </dgm:pt>
    <dgm:pt modelId="{15661EDA-07DC-4524-AC0F-1E451F38FFF1}" type="parTrans" cxnId="{0E0B6437-83F4-4ECC-B5AB-F46B40C7A405}">
      <dgm:prSet/>
      <dgm:spPr/>
      <dgm:t>
        <a:bodyPr/>
        <a:lstStyle/>
        <a:p>
          <a:endParaRPr lang="en-US"/>
        </a:p>
      </dgm:t>
    </dgm:pt>
    <dgm:pt modelId="{71B73C7C-478E-451C-B189-9257635CFEED}" type="sibTrans" cxnId="{0E0B6437-83F4-4ECC-B5AB-F46B40C7A405}">
      <dgm:prSet/>
      <dgm:spPr/>
      <dgm:t>
        <a:bodyPr/>
        <a:lstStyle/>
        <a:p>
          <a:endParaRPr lang="en-US"/>
        </a:p>
      </dgm:t>
    </dgm:pt>
    <dgm:pt modelId="{AD349316-689F-405B-8BA9-CD95C11ADD09}">
      <dgm:prSet/>
      <dgm:spPr/>
      <dgm:t>
        <a:bodyPr/>
        <a:lstStyle/>
        <a:p>
          <a:r>
            <a:rPr lang="en-GB"/>
            <a:t>Identifies and creates Indexes, validates performance improvements and reverts the change if performance degrades.</a:t>
          </a:r>
          <a:endParaRPr lang="en-US"/>
        </a:p>
      </dgm:t>
    </dgm:pt>
    <dgm:pt modelId="{0B43EC16-498B-4248-A702-CF81FB16F9F2}" type="parTrans" cxnId="{A9773F3A-1D0D-4938-AF12-3245434CD584}">
      <dgm:prSet/>
      <dgm:spPr/>
      <dgm:t>
        <a:bodyPr/>
        <a:lstStyle/>
        <a:p>
          <a:endParaRPr lang="en-US"/>
        </a:p>
      </dgm:t>
    </dgm:pt>
    <dgm:pt modelId="{09C07EFD-37DF-466F-8478-F9D8A6B56259}" type="sibTrans" cxnId="{A9773F3A-1D0D-4938-AF12-3245434CD584}">
      <dgm:prSet/>
      <dgm:spPr/>
      <dgm:t>
        <a:bodyPr/>
        <a:lstStyle/>
        <a:p>
          <a:endParaRPr lang="en-US"/>
        </a:p>
      </dgm:t>
    </dgm:pt>
    <dgm:pt modelId="{9938CDD6-DA63-4F0A-8BDE-7795438B97BC}">
      <dgm:prSet/>
      <dgm:spPr/>
      <dgm:t>
        <a:bodyPr/>
        <a:lstStyle/>
        <a:p>
          <a:r>
            <a:rPr lang="en-GB" b="1" dirty="0"/>
            <a:t>Drop Index:</a:t>
          </a:r>
          <a:endParaRPr lang="en-US" dirty="0"/>
        </a:p>
      </dgm:t>
    </dgm:pt>
    <dgm:pt modelId="{B8D51E64-CDAB-4B5B-AC59-908B95C209AC}" type="parTrans" cxnId="{25CD5E39-1751-4B8A-A9D2-B864A08D6CC5}">
      <dgm:prSet/>
      <dgm:spPr/>
      <dgm:t>
        <a:bodyPr/>
        <a:lstStyle/>
        <a:p>
          <a:endParaRPr lang="en-US"/>
        </a:p>
      </dgm:t>
    </dgm:pt>
    <dgm:pt modelId="{9EAB35B6-646C-4EE8-9E6D-81EE673EC03D}" type="sibTrans" cxnId="{25CD5E39-1751-4B8A-A9D2-B864A08D6CC5}">
      <dgm:prSet/>
      <dgm:spPr/>
      <dgm:t>
        <a:bodyPr/>
        <a:lstStyle/>
        <a:p>
          <a:endParaRPr lang="en-US"/>
        </a:p>
      </dgm:t>
    </dgm:pt>
    <dgm:pt modelId="{916655F4-CDCF-4FB4-BCDC-16B9BD7F1109}">
      <dgm:prSet/>
      <dgm:spPr/>
      <dgm:t>
        <a:bodyPr/>
        <a:lstStyle/>
        <a:p>
          <a:r>
            <a:rPr lang="en-GB" dirty="0"/>
            <a:t>Identifies and drops unused Indexes, validates performance improvements and reverts the change if performance degrades.</a:t>
          </a:r>
          <a:endParaRPr lang="en-US" dirty="0"/>
        </a:p>
      </dgm:t>
    </dgm:pt>
    <dgm:pt modelId="{CA2E53BA-F5E0-4EAF-901B-6BFF57188727}" type="parTrans" cxnId="{767AEF81-A7E5-4518-9B02-FF04B082FD10}">
      <dgm:prSet/>
      <dgm:spPr/>
      <dgm:t>
        <a:bodyPr/>
        <a:lstStyle/>
        <a:p>
          <a:endParaRPr lang="en-US"/>
        </a:p>
      </dgm:t>
    </dgm:pt>
    <dgm:pt modelId="{83728A47-F47E-4D3E-BB02-3A3125756CB7}" type="sibTrans" cxnId="{767AEF81-A7E5-4518-9B02-FF04B082FD10}">
      <dgm:prSet/>
      <dgm:spPr/>
      <dgm:t>
        <a:bodyPr/>
        <a:lstStyle/>
        <a:p>
          <a:endParaRPr lang="en-US"/>
        </a:p>
      </dgm:t>
    </dgm:pt>
    <dgm:pt modelId="{4C070600-BD65-470A-87CF-2DBC7BDED149}">
      <dgm:prSet/>
      <dgm:spPr/>
      <dgm:t>
        <a:bodyPr/>
        <a:lstStyle/>
        <a:p>
          <a:r>
            <a:rPr lang="en-GB" dirty="0"/>
            <a:t>Identifies regressed queries due to bad plan and replaces the bad plan with last Good Plan, validates performance improvements and reverts the change if performance does not improve.</a:t>
          </a:r>
          <a:endParaRPr lang="en-US" dirty="0"/>
        </a:p>
      </dgm:t>
    </dgm:pt>
    <dgm:pt modelId="{9863FE90-9A95-4DAE-BD67-CBCE0FF5DBF5}" type="parTrans" cxnId="{306948CD-2687-4759-A6F9-9D9B82F0C65B}">
      <dgm:prSet/>
      <dgm:spPr/>
      <dgm:t>
        <a:bodyPr/>
        <a:lstStyle/>
        <a:p>
          <a:endParaRPr lang="en-US"/>
        </a:p>
      </dgm:t>
    </dgm:pt>
    <dgm:pt modelId="{F32D9CC5-C083-4619-B33C-73CB642F996D}" type="sibTrans" cxnId="{306948CD-2687-4759-A6F9-9D9B82F0C65B}">
      <dgm:prSet/>
      <dgm:spPr/>
      <dgm:t>
        <a:bodyPr/>
        <a:lstStyle/>
        <a:p>
          <a:endParaRPr lang="en-US"/>
        </a:p>
      </dgm:t>
    </dgm:pt>
    <dgm:pt modelId="{044FC4B6-3BA7-4CE0-8063-931409F1B7BB}">
      <dgm:prSet/>
      <dgm:spPr/>
      <dgm:t>
        <a:bodyPr/>
        <a:lstStyle/>
        <a:p>
          <a:r>
            <a:rPr lang="en-GB" b="1"/>
            <a:t>Create Index:</a:t>
          </a:r>
          <a:r>
            <a:rPr lang="en-GB"/>
            <a:t> </a:t>
          </a:r>
          <a:endParaRPr lang="en-US" dirty="0"/>
        </a:p>
      </dgm:t>
    </dgm:pt>
    <dgm:pt modelId="{C88C1D44-6DC3-48BF-A766-3C6908A739CC}" type="parTrans" cxnId="{D2819FE8-BB0B-401C-8D0B-9D633038D5E2}">
      <dgm:prSet/>
      <dgm:spPr/>
      <dgm:t>
        <a:bodyPr/>
        <a:lstStyle/>
        <a:p>
          <a:endParaRPr lang="en-US"/>
        </a:p>
      </dgm:t>
    </dgm:pt>
    <dgm:pt modelId="{78DA22FB-8C2E-49BB-A9F5-DF0D2428469E}" type="sibTrans" cxnId="{D2819FE8-BB0B-401C-8D0B-9D633038D5E2}">
      <dgm:prSet/>
      <dgm:spPr/>
      <dgm:t>
        <a:bodyPr/>
        <a:lstStyle/>
        <a:p>
          <a:endParaRPr lang="en-US"/>
        </a:p>
      </dgm:t>
    </dgm:pt>
    <dgm:pt modelId="{D2CCA4ED-F8D9-4AC1-A9A9-62C9EEB0EF7A}" type="pres">
      <dgm:prSet presAssocID="{859BC0D0-5682-4F6C-87C8-DFEAB89D8834}" presName="linear" presStyleCnt="0">
        <dgm:presLayoutVars>
          <dgm:animLvl val="lvl"/>
          <dgm:resizeHandles val="exact"/>
        </dgm:presLayoutVars>
      </dgm:prSet>
      <dgm:spPr/>
    </dgm:pt>
    <dgm:pt modelId="{509C5CDD-13D0-4971-9C2E-035E71F9BA49}" type="pres">
      <dgm:prSet presAssocID="{D2BEBC5F-871A-4875-B7D5-AAC0896BB920}" presName="parentText" presStyleLbl="node1" presStyleIdx="0" presStyleCnt="3">
        <dgm:presLayoutVars>
          <dgm:chMax val="0"/>
          <dgm:bulletEnabled val="1"/>
        </dgm:presLayoutVars>
      </dgm:prSet>
      <dgm:spPr/>
    </dgm:pt>
    <dgm:pt modelId="{3332498D-B1B4-4BEE-8E10-B14EBD545110}" type="pres">
      <dgm:prSet presAssocID="{D2BEBC5F-871A-4875-B7D5-AAC0896BB920}" presName="childText" presStyleLbl="revTx" presStyleIdx="0" presStyleCnt="3">
        <dgm:presLayoutVars>
          <dgm:bulletEnabled val="1"/>
        </dgm:presLayoutVars>
      </dgm:prSet>
      <dgm:spPr/>
    </dgm:pt>
    <dgm:pt modelId="{24F84A27-EB51-4E4A-967C-A571E610E2AB}" type="pres">
      <dgm:prSet presAssocID="{044FC4B6-3BA7-4CE0-8063-931409F1B7BB}" presName="parentText" presStyleLbl="node1" presStyleIdx="1" presStyleCnt="3">
        <dgm:presLayoutVars>
          <dgm:chMax val="0"/>
          <dgm:bulletEnabled val="1"/>
        </dgm:presLayoutVars>
      </dgm:prSet>
      <dgm:spPr/>
    </dgm:pt>
    <dgm:pt modelId="{70F6EA63-FFDB-4F82-8FF1-8F4E36165235}" type="pres">
      <dgm:prSet presAssocID="{044FC4B6-3BA7-4CE0-8063-931409F1B7BB}" presName="childText" presStyleLbl="revTx" presStyleIdx="1" presStyleCnt="3">
        <dgm:presLayoutVars>
          <dgm:bulletEnabled val="1"/>
        </dgm:presLayoutVars>
      </dgm:prSet>
      <dgm:spPr/>
    </dgm:pt>
    <dgm:pt modelId="{C4AB264D-B8D8-44DC-B1B4-A90DCA65B562}" type="pres">
      <dgm:prSet presAssocID="{9938CDD6-DA63-4F0A-8BDE-7795438B97BC}" presName="parentText" presStyleLbl="node1" presStyleIdx="2" presStyleCnt="3">
        <dgm:presLayoutVars>
          <dgm:chMax val="0"/>
          <dgm:bulletEnabled val="1"/>
        </dgm:presLayoutVars>
      </dgm:prSet>
      <dgm:spPr/>
    </dgm:pt>
    <dgm:pt modelId="{1F25FBA9-B4C3-49F7-A227-0A2C7D63ADB3}" type="pres">
      <dgm:prSet presAssocID="{9938CDD6-DA63-4F0A-8BDE-7795438B97BC}" presName="childText" presStyleLbl="revTx" presStyleIdx="2" presStyleCnt="3">
        <dgm:presLayoutVars>
          <dgm:bulletEnabled val="1"/>
        </dgm:presLayoutVars>
      </dgm:prSet>
      <dgm:spPr/>
    </dgm:pt>
  </dgm:ptLst>
  <dgm:cxnLst>
    <dgm:cxn modelId="{55C4F724-E919-405C-AA7A-42F36839E008}" type="presOf" srcId="{9938CDD6-DA63-4F0A-8BDE-7795438B97BC}" destId="{C4AB264D-B8D8-44DC-B1B4-A90DCA65B562}" srcOrd="0" destOrd="0" presId="urn:microsoft.com/office/officeart/2005/8/layout/vList2"/>
    <dgm:cxn modelId="{69C88B2A-3FEC-4C58-BAF4-29BC3C37F19C}" type="presOf" srcId="{044FC4B6-3BA7-4CE0-8063-931409F1B7BB}" destId="{24F84A27-EB51-4E4A-967C-A571E610E2AB}" srcOrd="0" destOrd="0" presId="urn:microsoft.com/office/officeart/2005/8/layout/vList2"/>
    <dgm:cxn modelId="{42FDB02C-B468-423D-8331-46F0FC927FE4}" type="presOf" srcId="{AD349316-689F-405B-8BA9-CD95C11ADD09}" destId="{70F6EA63-FFDB-4F82-8FF1-8F4E36165235}" srcOrd="0" destOrd="0" presId="urn:microsoft.com/office/officeart/2005/8/layout/vList2"/>
    <dgm:cxn modelId="{0E0B6437-83F4-4ECC-B5AB-F46B40C7A405}" srcId="{859BC0D0-5682-4F6C-87C8-DFEAB89D8834}" destId="{D2BEBC5F-871A-4875-B7D5-AAC0896BB920}" srcOrd="0" destOrd="0" parTransId="{15661EDA-07DC-4524-AC0F-1E451F38FFF1}" sibTransId="{71B73C7C-478E-451C-B189-9257635CFEED}"/>
    <dgm:cxn modelId="{25CD5E39-1751-4B8A-A9D2-B864A08D6CC5}" srcId="{859BC0D0-5682-4F6C-87C8-DFEAB89D8834}" destId="{9938CDD6-DA63-4F0A-8BDE-7795438B97BC}" srcOrd="2" destOrd="0" parTransId="{B8D51E64-CDAB-4B5B-AC59-908B95C209AC}" sibTransId="{9EAB35B6-646C-4EE8-9E6D-81EE673EC03D}"/>
    <dgm:cxn modelId="{A9773F3A-1D0D-4938-AF12-3245434CD584}" srcId="{044FC4B6-3BA7-4CE0-8063-931409F1B7BB}" destId="{AD349316-689F-405B-8BA9-CD95C11ADD09}" srcOrd="0" destOrd="0" parTransId="{0B43EC16-498B-4248-A702-CF81FB16F9F2}" sibTransId="{09C07EFD-37DF-466F-8478-F9D8A6B56259}"/>
    <dgm:cxn modelId="{115D3970-54DB-44D4-AA0C-39DE62C0E203}" type="presOf" srcId="{859BC0D0-5682-4F6C-87C8-DFEAB89D8834}" destId="{D2CCA4ED-F8D9-4AC1-A9A9-62C9EEB0EF7A}" srcOrd="0" destOrd="0" presId="urn:microsoft.com/office/officeart/2005/8/layout/vList2"/>
    <dgm:cxn modelId="{767AEF81-A7E5-4518-9B02-FF04B082FD10}" srcId="{9938CDD6-DA63-4F0A-8BDE-7795438B97BC}" destId="{916655F4-CDCF-4FB4-BCDC-16B9BD7F1109}" srcOrd="0" destOrd="0" parTransId="{CA2E53BA-F5E0-4EAF-901B-6BFF57188727}" sibTransId="{83728A47-F47E-4D3E-BB02-3A3125756CB7}"/>
    <dgm:cxn modelId="{C06E2198-F0B6-453F-A229-F34643A0BE27}" type="presOf" srcId="{D2BEBC5F-871A-4875-B7D5-AAC0896BB920}" destId="{509C5CDD-13D0-4971-9C2E-035E71F9BA49}" srcOrd="0" destOrd="0" presId="urn:microsoft.com/office/officeart/2005/8/layout/vList2"/>
    <dgm:cxn modelId="{3BDE33BF-5947-48BE-88C5-E31A542DEB01}" type="presOf" srcId="{4C070600-BD65-470A-87CF-2DBC7BDED149}" destId="{3332498D-B1B4-4BEE-8E10-B14EBD545110}" srcOrd="0" destOrd="0" presId="urn:microsoft.com/office/officeart/2005/8/layout/vList2"/>
    <dgm:cxn modelId="{EB2369CA-98F0-4920-AA29-7C224E3893D7}" type="presOf" srcId="{916655F4-CDCF-4FB4-BCDC-16B9BD7F1109}" destId="{1F25FBA9-B4C3-49F7-A227-0A2C7D63ADB3}" srcOrd="0" destOrd="0" presId="urn:microsoft.com/office/officeart/2005/8/layout/vList2"/>
    <dgm:cxn modelId="{306948CD-2687-4759-A6F9-9D9B82F0C65B}" srcId="{D2BEBC5F-871A-4875-B7D5-AAC0896BB920}" destId="{4C070600-BD65-470A-87CF-2DBC7BDED149}" srcOrd="0" destOrd="0" parTransId="{9863FE90-9A95-4DAE-BD67-CBCE0FF5DBF5}" sibTransId="{F32D9CC5-C083-4619-B33C-73CB642F996D}"/>
    <dgm:cxn modelId="{D2819FE8-BB0B-401C-8D0B-9D633038D5E2}" srcId="{859BC0D0-5682-4F6C-87C8-DFEAB89D8834}" destId="{044FC4B6-3BA7-4CE0-8063-931409F1B7BB}" srcOrd="1" destOrd="0" parTransId="{C88C1D44-6DC3-48BF-A766-3C6908A739CC}" sibTransId="{78DA22FB-8C2E-49BB-A9F5-DF0D2428469E}"/>
    <dgm:cxn modelId="{9B8FF3AE-8CE7-4E4D-A86E-51001E326AE3}" type="presParOf" srcId="{D2CCA4ED-F8D9-4AC1-A9A9-62C9EEB0EF7A}" destId="{509C5CDD-13D0-4971-9C2E-035E71F9BA49}" srcOrd="0" destOrd="0" presId="urn:microsoft.com/office/officeart/2005/8/layout/vList2"/>
    <dgm:cxn modelId="{80DFEAF4-9DD3-4E37-BD7D-7ED82D41B008}" type="presParOf" srcId="{D2CCA4ED-F8D9-4AC1-A9A9-62C9EEB0EF7A}" destId="{3332498D-B1B4-4BEE-8E10-B14EBD545110}" srcOrd="1" destOrd="0" presId="urn:microsoft.com/office/officeart/2005/8/layout/vList2"/>
    <dgm:cxn modelId="{0F8835A5-CD0E-4113-B864-B337557B20B8}" type="presParOf" srcId="{D2CCA4ED-F8D9-4AC1-A9A9-62C9EEB0EF7A}" destId="{24F84A27-EB51-4E4A-967C-A571E610E2AB}" srcOrd="2" destOrd="0" presId="urn:microsoft.com/office/officeart/2005/8/layout/vList2"/>
    <dgm:cxn modelId="{6E873D75-B77A-4AF4-B3EF-E49AA8B51F6A}" type="presParOf" srcId="{D2CCA4ED-F8D9-4AC1-A9A9-62C9EEB0EF7A}" destId="{70F6EA63-FFDB-4F82-8FF1-8F4E36165235}" srcOrd="3" destOrd="0" presId="urn:microsoft.com/office/officeart/2005/8/layout/vList2"/>
    <dgm:cxn modelId="{BB8E9476-99E5-42EF-9E36-CC1B2AF1795B}" type="presParOf" srcId="{D2CCA4ED-F8D9-4AC1-A9A9-62C9EEB0EF7A}" destId="{C4AB264D-B8D8-44DC-B1B4-A90DCA65B562}" srcOrd="4" destOrd="0" presId="urn:microsoft.com/office/officeart/2005/8/layout/vList2"/>
    <dgm:cxn modelId="{FC2265EF-C246-4D68-95C8-D76FBC06FECE}" type="presParOf" srcId="{D2CCA4ED-F8D9-4AC1-A9A9-62C9EEB0EF7A}" destId="{1F25FBA9-B4C3-49F7-A227-0A2C7D63ADB3}"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D27BD25-8EDF-4B3E-AAE4-39961C87A9E8}"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25B81B37-80D7-47F9-B566-437FF50FE6D6}">
      <dgm:prSet custT="1"/>
      <dgm:spPr/>
      <dgm:t>
        <a:bodyPr/>
        <a:lstStyle/>
        <a:p>
          <a:r>
            <a:rPr lang="en-US" sz="2400" baseline="0" dirty="0"/>
            <a:t>SQL Database monitors the queries</a:t>
          </a:r>
          <a:endParaRPr lang="en-US" sz="2400" dirty="0"/>
        </a:p>
      </dgm:t>
    </dgm:pt>
    <dgm:pt modelId="{5292EDFC-4A82-4B7B-A528-F9655DF06B5A}" type="parTrans" cxnId="{EE26A851-D48F-438E-ABC0-734B6DCD0CD4}">
      <dgm:prSet/>
      <dgm:spPr/>
      <dgm:t>
        <a:bodyPr/>
        <a:lstStyle/>
        <a:p>
          <a:endParaRPr lang="en-US"/>
        </a:p>
      </dgm:t>
    </dgm:pt>
    <dgm:pt modelId="{1ECC43A8-9361-47AB-92A2-9A4FE17BBCBA}" type="sibTrans" cxnId="{EE26A851-D48F-438E-ABC0-734B6DCD0CD4}">
      <dgm:prSet/>
      <dgm:spPr/>
      <dgm:t>
        <a:bodyPr/>
        <a:lstStyle/>
        <a:p>
          <a:endParaRPr lang="en-US"/>
        </a:p>
      </dgm:t>
    </dgm:pt>
    <dgm:pt modelId="{14405CF9-4616-45B8-B27B-88AA4FEE2F29}">
      <dgm:prSet custT="1"/>
      <dgm:spPr/>
      <dgm:t>
        <a:bodyPr/>
        <a:lstStyle/>
        <a:p>
          <a:r>
            <a:rPr lang="en-US" sz="2400" baseline="0" dirty="0"/>
            <a:t>Identifies indexes that could improve performance</a:t>
          </a:r>
          <a:endParaRPr lang="en-US" sz="2400" dirty="0"/>
        </a:p>
      </dgm:t>
    </dgm:pt>
    <dgm:pt modelId="{71DCBCB9-922E-46BA-BD52-383FC87B0087}" type="parTrans" cxnId="{A37CD94B-E7BB-4A06-8324-B8008FAD278E}">
      <dgm:prSet/>
      <dgm:spPr/>
      <dgm:t>
        <a:bodyPr/>
        <a:lstStyle/>
        <a:p>
          <a:endParaRPr lang="en-US"/>
        </a:p>
      </dgm:t>
    </dgm:pt>
    <dgm:pt modelId="{D6CA08D5-6D33-4568-808E-A3774372EF42}" type="sibTrans" cxnId="{A37CD94B-E7BB-4A06-8324-B8008FAD278E}">
      <dgm:prSet/>
      <dgm:spPr/>
      <dgm:t>
        <a:bodyPr/>
        <a:lstStyle/>
        <a:p>
          <a:endParaRPr lang="en-US"/>
        </a:p>
      </dgm:t>
    </dgm:pt>
    <dgm:pt modelId="{3385DB59-762C-4044-BF8A-4E8A8960430F}">
      <dgm:prSet custT="1"/>
      <dgm:spPr/>
      <dgm:t>
        <a:bodyPr/>
        <a:lstStyle/>
        <a:p>
          <a:r>
            <a:rPr lang="en-US" sz="2400" baseline="0" dirty="0"/>
            <a:t>Creates an index recommendation (high, medium or low)</a:t>
          </a:r>
          <a:endParaRPr lang="en-US" sz="2400" dirty="0"/>
        </a:p>
      </dgm:t>
    </dgm:pt>
    <dgm:pt modelId="{664888C4-1897-4C63-9595-7CDE5654D5A7}" type="parTrans" cxnId="{E9E5452E-897B-4B6A-A26D-A730B16E8485}">
      <dgm:prSet/>
      <dgm:spPr/>
      <dgm:t>
        <a:bodyPr/>
        <a:lstStyle/>
        <a:p>
          <a:endParaRPr lang="en-US"/>
        </a:p>
      </dgm:t>
    </dgm:pt>
    <dgm:pt modelId="{849A1139-D7D3-49DD-A367-D65C9E3BA6F0}" type="sibTrans" cxnId="{E9E5452E-897B-4B6A-A26D-A730B16E8485}">
      <dgm:prSet/>
      <dgm:spPr/>
      <dgm:t>
        <a:bodyPr/>
        <a:lstStyle/>
        <a:p>
          <a:endParaRPr lang="en-US"/>
        </a:p>
      </dgm:t>
    </dgm:pt>
    <dgm:pt modelId="{AF8E42BF-A4EF-45D0-A70A-1937371AAFCA}">
      <dgm:prSet custT="1"/>
      <dgm:spPr/>
      <dgm:t>
        <a:bodyPr/>
        <a:lstStyle/>
        <a:p>
          <a:r>
            <a:rPr lang="en-US" sz="2400" baseline="0" dirty="0"/>
            <a:t>Apply the index recommendation</a:t>
          </a:r>
          <a:endParaRPr lang="en-US" sz="2400" dirty="0"/>
        </a:p>
      </dgm:t>
    </dgm:pt>
    <dgm:pt modelId="{4589C0D4-EE20-46A7-981F-B7B119F86FE9}" type="parTrans" cxnId="{B241C651-C57C-4515-BE80-CA2F581B7E0B}">
      <dgm:prSet/>
      <dgm:spPr/>
      <dgm:t>
        <a:bodyPr/>
        <a:lstStyle/>
        <a:p>
          <a:endParaRPr lang="en-US"/>
        </a:p>
      </dgm:t>
    </dgm:pt>
    <dgm:pt modelId="{1A8CABA4-3942-4DC4-8D41-8F97E83DE900}" type="sibTrans" cxnId="{B241C651-C57C-4515-BE80-CA2F581B7E0B}">
      <dgm:prSet/>
      <dgm:spPr/>
      <dgm:t>
        <a:bodyPr/>
        <a:lstStyle/>
        <a:p>
          <a:endParaRPr lang="en-US"/>
        </a:p>
      </dgm:t>
    </dgm:pt>
    <dgm:pt modelId="{4F921463-E2AB-4C0C-ABF6-E6E7CC9C99FA}">
      <dgm:prSet custT="1"/>
      <dgm:spPr/>
      <dgm:t>
        <a:bodyPr/>
        <a:lstStyle/>
        <a:p>
          <a:r>
            <a:rPr lang="en-US" sz="2400" baseline="0" dirty="0"/>
            <a:t>Compare the performance with the baseline</a:t>
          </a:r>
          <a:endParaRPr lang="en-US" sz="2400" dirty="0"/>
        </a:p>
      </dgm:t>
    </dgm:pt>
    <dgm:pt modelId="{A4DE1EB0-F419-4B03-B2B5-5835A3FE72FE}" type="parTrans" cxnId="{58F96682-8A7B-4658-9AD1-E89317392F6C}">
      <dgm:prSet/>
      <dgm:spPr/>
      <dgm:t>
        <a:bodyPr/>
        <a:lstStyle/>
        <a:p>
          <a:endParaRPr lang="en-US"/>
        </a:p>
      </dgm:t>
    </dgm:pt>
    <dgm:pt modelId="{CE5D81DB-5A87-40AD-951E-FE72D5A2066A}" type="sibTrans" cxnId="{58F96682-8A7B-4658-9AD1-E89317392F6C}">
      <dgm:prSet/>
      <dgm:spPr/>
      <dgm:t>
        <a:bodyPr/>
        <a:lstStyle/>
        <a:p>
          <a:endParaRPr lang="en-US"/>
        </a:p>
      </dgm:t>
    </dgm:pt>
    <dgm:pt modelId="{1EB9D8DE-7AC5-4D27-A216-C1E783BF5B57}">
      <dgm:prSet custT="1"/>
      <dgm:spPr/>
      <dgm:t>
        <a:bodyPr/>
        <a:lstStyle/>
        <a:p>
          <a:r>
            <a:rPr lang="en-US" sz="2400" baseline="0" dirty="0"/>
            <a:t>If performance improved?</a:t>
          </a:r>
          <a:endParaRPr lang="en-US" sz="2400" dirty="0"/>
        </a:p>
      </dgm:t>
    </dgm:pt>
    <dgm:pt modelId="{197BACEE-6D60-42E1-9EF1-4AA7D3730A46}" type="parTrans" cxnId="{01CBA322-4CA0-4205-9CBA-0E258D43607D}">
      <dgm:prSet/>
      <dgm:spPr/>
      <dgm:t>
        <a:bodyPr/>
        <a:lstStyle/>
        <a:p>
          <a:endParaRPr lang="en-US"/>
        </a:p>
      </dgm:t>
    </dgm:pt>
    <dgm:pt modelId="{D24D4074-71EF-45FB-BE5E-95CE85D7E960}" type="sibTrans" cxnId="{01CBA322-4CA0-4205-9CBA-0E258D43607D}">
      <dgm:prSet/>
      <dgm:spPr/>
      <dgm:t>
        <a:bodyPr/>
        <a:lstStyle/>
        <a:p>
          <a:endParaRPr lang="en-US"/>
        </a:p>
      </dgm:t>
    </dgm:pt>
    <dgm:pt modelId="{96280C0B-450D-4127-874A-D250A7B977F7}">
      <dgm:prSet custT="1"/>
      <dgm:spPr/>
      <dgm:t>
        <a:bodyPr/>
        <a:lstStyle/>
        <a:p>
          <a:r>
            <a:rPr lang="en-US" sz="2000" baseline="0" dirty="0"/>
            <a:t>Revert OR</a:t>
          </a:r>
          <a:endParaRPr lang="en-US" sz="2000" dirty="0"/>
        </a:p>
      </dgm:t>
    </dgm:pt>
    <dgm:pt modelId="{D47E6F7B-E6C0-4BFA-8031-2EE49F1F5B15}" type="parTrans" cxnId="{B057BE6E-C7D3-4F68-A06C-18646CC17050}">
      <dgm:prSet/>
      <dgm:spPr/>
      <dgm:t>
        <a:bodyPr/>
        <a:lstStyle/>
        <a:p>
          <a:endParaRPr lang="en-US"/>
        </a:p>
      </dgm:t>
    </dgm:pt>
    <dgm:pt modelId="{C11AD8FD-86CE-4605-82BA-3726E653208D}" type="sibTrans" cxnId="{B057BE6E-C7D3-4F68-A06C-18646CC17050}">
      <dgm:prSet/>
      <dgm:spPr/>
      <dgm:t>
        <a:bodyPr/>
        <a:lstStyle/>
        <a:p>
          <a:endParaRPr lang="en-US"/>
        </a:p>
      </dgm:t>
    </dgm:pt>
    <dgm:pt modelId="{0F650A0D-AF95-47A3-96B1-8FF188F4760D}">
      <dgm:prSet custT="1"/>
      <dgm:spPr/>
      <dgm:t>
        <a:bodyPr/>
        <a:lstStyle/>
        <a:p>
          <a:r>
            <a:rPr lang="en-US" sz="2000" baseline="0" dirty="0"/>
            <a:t>Flagged as successful</a:t>
          </a:r>
          <a:endParaRPr lang="en-US" sz="2000" dirty="0"/>
        </a:p>
      </dgm:t>
    </dgm:pt>
    <dgm:pt modelId="{5E569940-B6EE-43A5-947E-F9785989ABB2}" type="parTrans" cxnId="{47EA19CE-FA0F-4323-918A-4047E78A952C}">
      <dgm:prSet/>
      <dgm:spPr/>
      <dgm:t>
        <a:bodyPr/>
        <a:lstStyle/>
        <a:p>
          <a:endParaRPr lang="en-US"/>
        </a:p>
      </dgm:t>
    </dgm:pt>
    <dgm:pt modelId="{1F08C55B-2663-454E-9228-3CE8698D5CF9}" type="sibTrans" cxnId="{47EA19CE-FA0F-4323-918A-4047E78A952C}">
      <dgm:prSet/>
      <dgm:spPr/>
      <dgm:t>
        <a:bodyPr/>
        <a:lstStyle/>
        <a:p>
          <a:endParaRPr lang="en-US"/>
        </a:p>
      </dgm:t>
    </dgm:pt>
    <dgm:pt modelId="{9E29E3A8-26D5-46D6-9680-9D050C2C7E23}" type="pres">
      <dgm:prSet presAssocID="{6D27BD25-8EDF-4B3E-AAE4-39961C87A9E8}" presName="Name0" presStyleCnt="0">
        <dgm:presLayoutVars>
          <dgm:dir/>
          <dgm:resizeHandles val="exact"/>
        </dgm:presLayoutVars>
      </dgm:prSet>
      <dgm:spPr/>
    </dgm:pt>
    <dgm:pt modelId="{9F095C3C-B302-496C-9DF7-08715002A7AF}" type="pres">
      <dgm:prSet presAssocID="{25B81B37-80D7-47F9-B566-437FF50FE6D6}" presName="node" presStyleLbl="node1" presStyleIdx="0" presStyleCnt="6">
        <dgm:presLayoutVars>
          <dgm:bulletEnabled val="1"/>
        </dgm:presLayoutVars>
      </dgm:prSet>
      <dgm:spPr/>
    </dgm:pt>
    <dgm:pt modelId="{599BCCF4-1723-41CF-89CA-6F0F876FF2B2}" type="pres">
      <dgm:prSet presAssocID="{1ECC43A8-9361-47AB-92A2-9A4FE17BBCBA}" presName="sibTrans" presStyleLbl="sibTrans1D1" presStyleIdx="0" presStyleCnt="5"/>
      <dgm:spPr/>
    </dgm:pt>
    <dgm:pt modelId="{011F9B4A-4379-47C0-9800-074A37B9D98B}" type="pres">
      <dgm:prSet presAssocID="{1ECC43A8-9361-47AB-92A2-9A4FE17BBCBA}" presName="connectorText" presStyleLbl="sibTrans1D1" presStyleIdx="0" presStyleCnt="5"/>
      <dgm:spPr/>
    </dgm:pt>
    <dgm:pt modelId="{EA8C42DE-E869-45C7-A16E-7B2B7F20D740}" type="pres">
      <dgm:prSet presAssocID="{14405CF9-4616-45B8-B27B-88AA4FEE2F29}" presName="node" presStyleLbl="node1" presStyleIdx="1" presStyleCnt="6">
        <dgm:presLayoutVars>
          <dgm:bulletEnabled val="1"/>
        </dgm:presLayoutVars>
      </dgm:prSet>
      <dgm:spPr/>
    </dgm:pt>
    <dgm:pt modelId="{2DD5F3A0-AD9F-4311-866C-13B3B8723025}" type="pres">
      <dgm:prSet presAssocID="{D6CA08D5-6D33-4568-808E-A3774372EF42}" presName="sibTrans" presStyleLbl="sibTrans1D1" presStyleIdx="1" presStyleCnt="5"/>
      <dgm:spPr/>
    </dgm:pt>
    <dgm:pt modelId="{3C40D3E5-09FD-4B58-955C-7439C84EA2A6}" type="pres">
      <dgm:prSet presAssocID="{D6CA08D5-6D33-4568-808E-A3774372EF42}" presName="connectorText" presStyleLbl="sibTrans1D1" presStyleIdx="1" presStyleCnt="5"/>
      <dgm:spPr/>
    </dgm:pt>
    <dgm:pt modelId="{56F5725E-E259-4A56-BECF-6198FCECC981}" type="pres">
      <dgm:prSet presAssocID="{3385DB59-762C-4044-BF8A-4E8A8960430F}" presName="node" presStyleLbl="node1" presStyleIdx="2" presStyleCnt="6">
        <dgm:presLayoutVars>
          <dgm:bulletEnabled val="1"/>
        </dgm:presLayoutVars>
      </dgm:prSet>
      <dgm:spPr/>
    </dgm:pt>
    <dgm:pt modelId="{57561826-B323-4FD9-82DA-827D89D59AC0}" type="pres">
      <dgm:prSet presAssocID="{849A1139-D7D3-49DD-A367-D65C9E3BA6F0}" presName="sibTrans" presStyleLbl="sibTrans1D1" presStyleIdx="2" presStyleCnt="5"/>
      <dgm:spPr/>
    </dgm:pt>
    <dgm:pt modelId="{2FF4CD16-DC04-41CA-AB7C-3571F17C23AF}" type="pres">
      <dgm:prSet presAssocID="{849A1139-D7D3-49DD-A367-D65C9E3BA6F0}" presName="connectorText" presStyleLbl="sibTrans1D1" presStyleIdx="2" presStyleCnt="5"/>
      <dgm:spPr/>
    </dgm:pt>
    <dgm:pt modelId="{0E04FCA1-66BA-4316-B74B-DA6BF04B50CD}" type="pres">
      <dgm:prSet presAssocID="{AF8E42BF-A4EF-45D0-A70A-1937371AAFCA}" presName="node" presStyleLbl="node1" presStyleIdx="3" presStyleCnt="6">
        <dgm:presLayoutVars>
          <dgm:bulletEnabled val="1"/>
        </dgm:presLayoutVars>
      </dgm:prSet>
      <dgm:spPr/>
    </dgm:pt>
    <dgm:pt modelId="{ECB7420A-83B5-4BF4-B80B-B37B00F8D375}" type="pres">
      <dgm:prSet presAssocID="{1A8CABA4-3942-4DC4-8D41-8F97E83DE900}" presName="sibTrans" presStyleLbl="sibTrans1D1" presStyleIdx="3" presStyleCnt="5"/>
      <dgm:spPr/>
    </dgm:pt>
    <dgm:pt modelId="{AC8C3E93-8B50-4E8B-8998-C8B9AFF51E85}" type="pres">
      <dgm:prSet presAssocID="{1A8CABA4-3942-4DC4-8D41-8F97E83DE900}" presName="connectorText" presStyleLbl="sibTrans1D1" presStyleIdx="3" presStyleCnt="5"/>
      <dgm:spPr/>
    </dgm:pt>
    <dgm:pt modelId="{524B6BF2-2764-4DDF-ADB7-3B742FDAD4CF}" type="pres">
      <dgm:prSet presAssocID="{4F921463-E2AB-4C0C-ABF6-E6E7CC9C99FA}" presName="node" presStyleLbl="node1" presStyleIdx="4" presStyleCnt="6">
        <dgm:presLayoutVars>
          <dgm:bulletEnabled val="1"/>
        </dgm:presLayoutVars>
      </dgm:prSet>
      <dgm:spPr/>
    </dgm:pt>
    <dgm:pt modelId="{0F770C92-8707-4ED6-A0D6-535782DA22A9}" type="pres">
      <dgm:prSet presAssocID="{CE5D81DB-5A87-40AD-951E-FE72D5A2066A}" presName="sibTrans" presStyleLbl="sibTrans1D1" presStyleIdx="4" presStyleCnt="5"/>
      <dgm:spPr/>
    </dgm:pt>
    <dgm:pt modelId="{04BA8F3E-8C1E-4E99-82EF-82464A882C2F}" type="pres">
      <dgm:prSet presAssocID="{CE5D81DB-5A87-40AD-951E-FE72D5A2066A}" presName="connectorText" presStyleLbl="sibTrans1D1" presStyleIdx="4" presStyleCnt="5"/>
      <dgm:spPr/>
    </dgm:pt>
    <dgm:pt modelId="{7F237396-FDCA-46BD-AD11-ABA0E009B081}" type="pres">
      <dgm:prSet presAssocID="{1EB9D8DE-7AC5-4D27-A216-C1E783BF5B57}" presName="node" presStyleLbl="node1" presStyleIdx="5" presStyleCnt="6">
        <dgm:presLayoutVars>
          <dgm:bulletEnabled val="1"/>
        </dgm:presLayoutVars>
      </dgm:prSet>
      <dgm:spPr/>
    </dgm:pt>
  </dgm:ptLst>
  <dgm:cxnLst>
    <dgm:cxn modelId="{6473881C-F765-4204-BE8C-FE2130A73919}" type="presOf" srcId="{CE5D81DB-5A87-40AD-951E-FE72D5A2066A}" destId="{04BA8F3E-8C1E-4E99-82EF-82464A882C2F}" srcOrd="1" destOrd="0" presId="urn:microsoft.com/office/officeart/2005/8/layout/bProcess3"/>
    <dgm:cxn modelId="{01CBA322-4CA0-4205-9CBA-0E258D43607D}" srcId="{6D27BD25-8EDF-4B3E-AAE4-39961C87A9E8}" destId="{1EB9D8DE-7AC5-4D27-A216-C1E783BF5B57}" srcOrd="5" destOrd="0" parTransId="{197BACEE-6D60-42E1-9EF1-4AA7D3730A46}" sibTransId="{D24D4074-71EF-45FB-BE5E-95CE85D7E960}"/>
    <dgm:cxn modelId="{E9E5452E-897B-4B6A-A26D-A730B16E8485}" srcId="{6D27BD25-8EDF-4B3E-AAE4-39961C87A9E8}" destId="{3385DB59-762C-4044-BF8A-4E8A8960430F}" srcOrd="2" destOrd="0" parTransId="{664888C4-1897-4C63-9595-7CDE5654D5A7}" sibTransId="{849A1139-D7D3-49DD-A367-D65C9E3BA6F0}"/>
    <dgm:cxn modelId="{1D351B39-D462-43CF-86F6-C56B9E1E26BB}" type="presOf" srcId="{25B81B37-80D7-47F9-B566-437FF50FE6D6}" destId="{9F095C3C-B302-496C-9DF7-08715002A7AF}" srcOrd="0" destOrd="0" presId="urn:microsoft.com/office/officeart/2005/8/layout/bProcess3"/>
    <dgm:cxn modelId="{EF214B3D-DC70-40B5-A97F-FB78BDB48F92}" type="presOf" srcId="{1A8CABA4-3942-4DC4-8D41-8F97E83DE900}" destId="{AC8C3E93-8B50-4E8B-8998-C8B9AFF51E85}" srcOrd="1" destOrd="0" presId="urn:microsoft.com/office/officeart/2005/8/layout/bProcess3"/>
    <dgm:cxn modelId="{CF6E9D3E-2FC4-4FB5-BF4D-043DEEA4C3AD}" type="presOf" srcId="{4F921463-E2AB-4C0C-ABF6-E6E7CC9C99FA}" destId="{524B6BF2-2764-4DDF-ADB7-3B742FDAD4CF}" srcOrd="0" destOrd="0" presId="urn:microsoft.com/office/officeart/2005/8/layout/bProcess3"/>
    <dgm:cxn modelId="{C3F44040-08A1-4C0D-8589-33AB6E914AA8}" type="presOf" srcId="{AF8E42BF-A4EF-45D0-A70A-1937371AAFCA}" destId="{0E04FCA1-66BA-4316-B74B-DA6BF04B50CD}" srcOrd="0" destOrd="0" presId="urn:microsoft.com/office/officeart/2005/8/layout/bProcess3"/>
    <dgm:cxn modelId="{D3D91064-557A-4AA2-9740-605AAF07F31E}" type="presOf" srcId="{D6CA08D5-6D33-4568-808E-A3774372EF42}" destId="{3C40D3E5-09FD-4B58-955C-7439C84EA2A6}" srcOrd="1" destOrd="0" presId="urn:microsoft.com/office/officeart/2005/8/layout/bProcess3"/>
    <dgm:cxn modelId="{01552265-CC66-4AF6-9B75-5B17CA4994D7}" type="presOf" srcId="{3385DB59-762C-4044-BF8A-4E8A8960430F}" destId="{56F5725E-E259-4A56-BECF-6198FCECC981}" srcOrd="0" destOrd="0" presId="urn:microsoft.com/office/officeart/2005/8/layout/bProcess3"/>
    <dgm:cxn modelId="{5AA5AB66-39C3-485E-82D1-479D12D0841C}" type="presOf" srcId="{1ECC43A8-9361-47AB-92A2-9A4FE17BBCBA}" destId="{599BCCF4-1723-41CF-89CA-6F0F876FF2B2}" srcOrd="0" destOrd="0" presId="urn:microsoft.com/office/officeart/2005/8/layout/bProcess3"/>
    <dgm:cxn modelId="{EBD76E49-791C-4D46-B7BA-76712FDC7D8F}" type="presOf" srcId="{1ECC43A8-9361-47AB-92A2-9A4FE17BBCBA}" destId="{011F9B4A-4379-47C0-9800-074A37B9D98B}" srcOrd="1" destOrd="0" presId="urn:microsoft.com/office/officeart/2005/8/layout/bProcess3"/>
    <dgm:cxn modelId="{A37CD94B-E7BB-4A06-8324-B8008FAD278E}" srcId="{6D27BD25-8EDF-4B3E-AAE4-39961C87A9E8}" destId="{14405CF9-4616-45B8-B27B-88AA4FEE2F29}" srcOrd="1" destOrd="0" parTransId="{71DCBCB9-922E-46BA-BD52-383FC87B0087}" sibTransId="{D6CA08D5-6D33-4568-808E-A3774372EF42}"/>
    <dgm:cxn modelId="{B057BE6E-C7D3-4F68-A06C-18646CC17050}" srcId="{1EB9D8DE-7AC5-4D27-A216-C1E783BF5B57}" destId="{96280C0B-450D-4127-874A-D250A7B977F7}" srcOrd="0" destOrd="0" parTransId="{D47E6F7B-E6C0-4BFA-8031-2EE49F1F5B15}" sibTransId="{C11AD8FD-86CE-4605-82BA-3726E653208D}"/>
    <dgm:cxn modelId="{EE26A851-D48F-438E-ABC0-734B6DCD0CD4}" srcId="{6D27BD25-8EDF-4B3E-AAE4-39961C87A9E8}" destId="{25B81B37-80D7-47F9-B566-437FF50FE6D6}" srcOrd="0" destOrd="0" parTransId="{5292EDFC-4A82-4B7B-A528-F9655DF06B5A}" sibTransId="{1ECC43A8-9361-47AB-92A2-9A4FE17BBCBA}"/>
    <dgm:cxn modelId="{B241C651-C57C-4515-BE80-CA2F581B7E0B}" srcId="{6D27BD25-8EDF-4B3E-AAE4-39961C87A9E8}" destId="{AF8E42BF-A4EF-45D0-A70A-1937371AAFCA}" srcOrd="3" destOrd="0" parTransId="{4589C0D4-EE20-46A7-981F-B7B119F86FE9}" sibTransId="{1A8CABA4-3942-4DC4-8D41-8F97E83DE900}"/>
    <dgm:cxn modelId="{637E4857-11B1-48C7-A625-ED650B1CF4A9}" type="presOf" srcId="{D6CA08D5-6D33-4568-808E-A3774372EF42}" destId="{2DD5F3A0-AD9F-4311-866C-13B3B8723025}" srcOrd="0" destOrd="0" presId="urn:microsoft.com/office/officeart/2005/8/layout/bProcess3"/>
    <dgm:cxn modelId="{62A83759-0F71-48A9-B728-D049EBBC0841}" type="presOf" srcId="{849A1139-D7D3-49DD-A367-D65C9E3BA6F0}" destId="{2FF4CD16-DC04-41CA-AB7C-3571F17C23AF}" srcOrd="1" destOrd="0" presId="urn:microsoft.com/office/officeart/2005/8/layout/bProcess3"/>
    <dgm:cxn modelId="{58F96682-8A7B-4658-9AD1-E89317392F6C}" srcId="{6D27BD25-8EDF-4B3E-AAE4-39961C87A9E8}" destId="{4F921463-E2AB-4C0C-ABF6-E6E7CC9C99FA}" srcOrd="4" destOrd="0" parTransId="{A4DE1EB0-F419-4B03-B2B5-5835A3FE72FE}" sibTransId="{CE5D81DB-5A87-40AD-951E-FE72D5A2066A}"/>
    <dgm:cxn modelId="{0F630F8A-B36E-4397-982D-DFDF0070F79C}" type="presOf" srcId="{1EB9D8DE-7AC5-4D27-A216-C1E783BF5B57}" destId="{7F237396-FDCA-46BD-AD11-ABA0E009B081}" srcOrd="0" destOrd="0" presId="urn:microsoft.com/office/officeart/2005/8/layout/bProcess3"/>
    <dgm:cxn modelId="{03086A99-CFE6-47C1-AC27-018DB65C3C71}" type="presOf" srcId="{CE5D81DB-5A87-40AD-951E-FE72D5A2066A}" destId="{0F770C92-8707-4ED6-A0D6-535782DA22A9}" srcOrd="0" destOrd="0" presId="urn:microsoft.com/office/officeart/2005/8/layout/bProcess3"/>
    <dgm:cxn modelId="{95B0949B-657E-4DDF-89A0-553395382DFF}" type="presOf" srcId="{14405CF9-4616-45B8-B27B-88AA4FEE2F29}" destId="{EA8C42DE-E869-45C7-A16E-7B2B7F20D740}" srcOrd="0" destOrd="0" presId="urn:microsoft.com/office/officeart/2005/8/layout/bProcess3"/>
    <dgm:cxn modelId="{CFA2A49D-0F38-4473-A2C7-550D19A84EA0}" type="presOf" srcId="{0F650A0D-AF95-47A3-96B1-8FF188F4760D}" destId="{7F237396-FDCA-46BD-AD11-ABA0E009B081}" srcOrd="0" destOrd="2" presId="urn:microsoft.com/office/officeart/2005/8/layout/bProcess3"/>
    <dgm:cxn modelId="{A72152A4-200F-4ABC-AB63-2CF9CE1A8A47}" type="presOf" srcId="{849A1139-D7D3-49DD-A367-D65C9E3BA6F0}" destId="{57561826-B323-4FD9-82DA-827D89D59AC0}" srcOrd="0" destOrd="0" presId="urn:microsoft.com/office/officeart/2005/8/layout/bProcess3"/>
    <dgm:cxn modelId="{C6BAA6B4-598E-4D0B-B636-5585E90C133F}" type="presOf" srcId="{6D27BD25-8EDF-4B3E-AAE4-39961C87A9E8}" destId="{9E29E3A8-26D5-46D6-9680-9D050C2C7E23}" srcOrd="0" destOrd="0" presId="urn:microsoft.com/office/officeart/2005/8/layout/bProcess3"/>
    <dgm:cxn modelId="{F8C03AB5-CCDE-4599-90C8-1F83BD9894D2}" type="presOf" srcId="{1A8CABA4-3942-4DC4-8D41-8F97E83DE900}" destId="{ECB7420A-83B5-4BF4-B80B-B37B00F8D375}" srcOrd="0" destOrd="0" presId="urn:microsoft.com/office/officeart/2005/8/layout/bProcess3"/>
    <dgm:cxn modelId="{47EA19CE-FA0F-4323-918A-4047E78A952C}" srcId="{1EB9D8DE-7AC5-4D27-A216-C1E783BF5B57}" destId="{0F650A0D-AF95-47A3-96B1-8FF188F4760D}" srcOrd="1" destOrd="0" parTransId="{5E569940-B6EE-43A5-947E-F9785989ABB2}" sibTransId="{1F08C55B-2663-454E-9228-3CE8698D5CF9}"/>
    <dgm:cxn modelId="{D5DBC3F9-568C-4349-AFE0-28D0B9D56FD1}" type="presOf" srcId="{96280C0B-450D-4127-874A-D250A7B977F7}" destId="{7F237396-FDCA-46BD-AD11-ABA0E009B081}" srcOrd="0" destOrd="1" presId="urn:microsoft.com/office/officeart/2005/8/layout/bProcess3"/>
    <dgm:cxn modelId="{B720B2E8-E00D-4639-B799-6B19F1B98B25}" type="presParOf" srcId="{9E29E3A8-26D5-46D6-9680-9D050C2C7E23}" destId="{9F095C3C-B302-496C-9DF7-08715002A7AF}" srcOrd="0" destOrd="0" presId="urn:microsoft.com/office/officeart/2005/8/layout/bProcess3"/>
    <dgm:cxn modelId="{E4532683-D820-4B48-BC95-3056A25ECEF9}" type="presParOf" srcId="{9E29E3A8-26D5-46D6-9680-9D050C2C7E23}" destId="{599BCCF4-1723-41CF-89CA-6F0F876FF2B2}" srcOrd="1" destOrd="0" presId="urn:microsoft.com/office/officeart/2005/8/layout/bProcess3"/>
    <dgm:cxn modelId="{9C577343-5094-4F3B-A3D0-E054A0D988E2}" type="presParOf" srcId="{599BCCF4-1723-41CF-89CA-6F0F876FF2B2}" destId="{011F9B4A-4379-47C0-9800-074A37B9D98B}" srcOrd="0" destOrd="0" presId="urn:microsoft.com/office/officeart/2005/8/layout/bProcess3"/>
    <dgm:cxn modelId="{1C8B830C-A13A-4984-B5E0-6CB3A9521488}" type="presParOf" srcId="{9E29E3A8-26D5-46D6-9680-9D050C2C7E23}" destId="{EA8C42DE-E869-45C7-A16E-7B2B7F20D740}" srcOrd="2" destOrd="0" presId="urn:microsoft.com/office/officeart/2005/8/layout/bProcess3"/>
    <dgm:cxn modelId="{E8D9C150-EC67-4D18-8E86-126C5CAEDE2E}" type="presParOf" srcId="{9E29E3A8-26D5-46D6-9680-9D050C2C7E23}" destId="{2DD5F3A0-AD9F-4311-866C-13B3B8723025}" srcOrd="3" destOrd="0" presId="urn:microsoft.com/office/officeart/2005/8/layout/bProcess3"/>
    <dgm:cxn modelId="{00EDF4A0-6D68-4549-814A-BBF044EA61BA}" type="presParOf" srcId="{2DD5F3A0-AD9F-4311-866C-13B3B8723025}" destId="{3C40D3E5-09FD-4B58-955C-7439C84EA2A6}" srcOrd="0" destOrd="0" presId="urn:microsoft.com/office/officeart/2005/8/layout/bProcess3"/>
    <dgm:cxn modelId="{1EF862FD-8C96-4519-8977-9EC399A30ED1}" type="presParOf" srcId="{9E29E3A8-26D5-46D6-9680-9D050C2C7E23}" destId="{56F5725E-E259-4A56-BECF-6198FCECC981}" srcOrd="4" destOrd="0" presId="urn:microsoft.com/office/officeart/2005/8/layout/bProcess3"/>
    <dgm:cxn modelId="{2497BB77-A481-46CF-8DD2-C45A1E4906D5}" type="presParOf" srcId="{9E29E3A8-26D5-46D6-9680-9D050C2C7E23}" destId="{57561826-B323-4FD9-82DA-827D89D59AC0}" srcOrd="5" destOrd="0" presId="urn:microsoft.com/office/officeart/2005/8/layout/bProcess3"/>
    <dgm:cxn modelId="{81F0D6FB-6B01-4991-9659-F5C3762086A6}" type="presParOf" srcId="{57561826-B323-4FD9-82DA-827D89D59AC0}" destId="{2FF4CD16-DC04-41CA-AB7C-3571F17C23AF}" srcOrd="0" destOrd="0" presId="urn:microsoft.com/office/officeart/2005/8/layout/bProcess3"/>
    <dgm:cxn modelId="{0342BF66-345C-40BD-9990-22E6127C3DF5}" type="presParOf" srcId="{9E29E3A8-26D5-46D6-9680-9D050C2C7E23}" destId="{0E04FCA1-66BA-4316-B74B-DA6BF04B50CD}" srcOrd="6" destOrd="0" presId="urn:microsoft.com/office/officeart/2005/8/layout/bProcess3"/>
    <dgm:cxn modelId="{AE405167-F655-4A98-BC29-F269ABB62BB0}" type="presParOf" srcId="{9E29E3A8-26D5-46D6-9680-9D050C2C7E23}" destId="{ECB7420A-83B5-4BF4-B80B-B37B00F8D375}" srcOrd="7" destOrd="0" presId="urn:microsoft.com/office/officeart/2005/8/layout/bProcess3"/>
    <dgm:cxn modelId="{D87C63AB-39B7-49BB-B83C-98DECD4330EE}" type="presParOf" srcId="{ECB7420A-83B5-4BF4-B80B-B37B00F8D375}" destId="{AC8C3E93-8B50-4E8B-8998-C8B9AFF51E85}" srcOrd="0" destOrd="0" presId="urn:microsoft.com/office/officeart/2005/8/layout/bProcess3"/>
    <dgm:cxn modelId="{DED586EA-82FD-4C37-A56B-E73C742D08DE}" type="presParOf" srcId="{9E29E3A8-26D5-46D6-9680-9D050C2C7E23}" destId="{524B6BF2-2764-4DDF-ADB7-3B742FDAD4CF}" srcOrd="8" destOrd="0" presId="urn:microsoft.com/office/officeart/2005/8/layout/bProcess3"/>
    <dgm:cxn modelId="{98B7D75C-B74E-4BEE-8C9A-C4639C8F65E8}" type="presParOf" srcId="{9E29E3A8-26D5-46D6-9680-9D050C2C7E23}" destId="{0F770C92-8707-4ED6-A0D6-535782DA22A9}" srcOrd="9" destOrd="0" presId="urn:microsoft.com/office/officeart/2005/8/layout/bProcess3"/>
    <dgm:cxn modelId="{E7F21009-6350-4596-8E39-E7DA236ACFE6}" type="presParOf" srcId="{0F770C92-8707-4ED6-A0D6-535782DA22A9}" destId="{04BA8F3E-8C1E-4E99-82EF-82464A882C2F}" srcOrd="0" destOrd="0" presId="urn:microsoft.com/office/officeart/2005/8/layout/bProcess3"/>
    <dgm:cxn modelId="{0BA4BCCE-3DF5-43A9-BF09-631D23F07EAC}" type="presParOf" srcId="{9E29E3A8-26D5-46D6-9680-9D050C2C7E23}" destId="{7F237396-FDCA-46BD-AD11-ABA0E009B081}" srcOrd="1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E2288F7-DF5B-4082-A712-BB7BB7590E5D}" type="doc">
      <dgm:prSet loTypeId="urn:microsoft.com/office/officeart/2005/8/layout/process5" loCatId="process" qsTypeId="urn:microsoft.com/office/officeart/2005/8/quickstyle/simple1" qsCatId="simple" csTypeId="urn:microsoft.com/office/officeart/2005/8/colors/accent1_2" csCatId="accent1"/>
      <dgm:spPr/>
      <dgm:t>
        <a:bodyPr/>
        <a:lstStyle/>
        <a:p>
          <a:endParaRPr lang="en-US"/>
        </a:p>
      </dgm:t>
    </dgm:pt>
    <dgm:pt modelId="{8F63086E-3385-4F5D-B24C-BF7DC5346ABB}">
      <dgm:prSet/>
      <dgm:spPr/>
      <dgm:t>
        <a:bodyPr/>
        <a:lstStyle/>
        <a:p>
          <a:r>
            <a:rPr lang="en-US" baseline="0"/>
            <a:t>Is an index not used</a:t>
          </a:r>
          <a:endParaRPr lang="en-US"/>
        </a:p>
      </dgm:t>
    </dgm:pt>
    <dgm:pt modelId="{D58C90E4-5A8E-4A2F-B40D-DC62F697F125}" type="parTrans" cxnId="{A8F9D286-5144-4D70-AB81-76BF7D2AB7CA}">
      <dgm:prSet/>
      <dgm:spPr/>
      <dgm:t>
        <a:bodyPr/>
        <a:lstStyle/>
        <a:p>
          <a:endParaRPr lang="en-US"/>
        </a:p>
      </dgm:t>
    </dgm:pt>
    <dgm:pt modelId="{0CDBE963-A6CE-49D0-95C3-1216AD9291B4}" type="sibTrans" cxnId="{A8F9D286-5144-4D70-AB81-76BF7D2AB7CA}">
      <dgm:prSet/>
      <dgm:spPr/>
      <dgm:t>
        <a:bodyPr/>
        <a:lstStyle/>
        <a:p>
          <a:endParaRPr lang="en-US"/>
        </a:p>
      </dgm:t>
    </dgm:pt>
    <dgm:pt modelId="{55565061-2270-488C-8464-6DFD21BD6E97}">
      <dgm:prSet/>
      <dgm:spPr/>
      <dgm:t>
        <a:bodyPr/>
        <a:lstStyle/>
        <a:p>
          <a:r>
            <a:rPr lang="en-US" baseline="0"/>
            <a:t>Drop index recommendation </a:t>
          </a:r>
          <a:endParaRPr lang="en-US"/>
        </a:p>
      </dgm:t>
    </dgm:pt>
    <dgm:pt modelId="{9397FF83-18D9-4A8A-A95F-BD3BE8F6B3F0}" type="parTrans" cxnId="{240F02A0-67E6-422B-9ED7-76057AA565EE}">
      <dgm:prSet/>
      <dgm:spPr/>
      <dgm:t>
        <a:bodyPr/>
        <a:lstStyle/>
        <a:p>
          <a:endParaRPr lang="en-US"/>
        </a:p>
      </dgm:t>
    </dgm:pt>
    <dgm:pt modelId="{CC2B1D16-4B6D-4EC0-B090-CE8B2C74BC15}" type="sibTrans" cxnId="{240F02A0-67E6-422B-9ED7-76057AA565EE}">
      <dgm:prSet/>
      <dgm:spPr/>
      <dgm:t>
        <a:bodyPr/>
        <a:lstStyle/>
        <a:p>
          <a:endParaRPr lang="en-US"/>
        </a:p>
      </dgm:t>
    </dgm:pt>
    <dgm:pt modelId="{2E9F5771-B26B-448D-8937-16AA30B2FDBF}">
      <dgm:prSet/>
      <dgm:spPr/>
      <dgm:t>
        <a:bodyPr/>
        <a:lstStyle/>
        <a:p>
          <a:r>
            <a:rPr lang="en-US" baseline="0"/>
            <a:t>Apply the index recommendation</a:t>
          </a:r>
          <a:endParaRPr lang="en-US"/>
        </a:p>
      </dgm:t>
    </dgm:pt>
    <dgm:pt modelId="{3929ADF2-A147-460E-813A-B0CBB787B0EA}" type="parTrans" cxnId="{9EBC9CE2-D429-4A38-8211-AC13F8FD0111}">
      <dgm:prSet/>
      <dgm:spPr/>
      <dgm:t>
        <a:bodyPr/>
        <a:lstStyle/>
        <a:p>
          <a:endParaRPr lang="en-US"/>
        </a:p>
      </dgm:t>
    </dgm:pt>
    <dgm:pt modelId="{3EEF7299-496A-4FB4-BCFC-72ACCE3130B7}" type="sibTrans" cxnId="{9EBC9CE2-D429-4A38-8211-AC13F8FD0111}">
      <dgm:prSet/>
      <dgm:spPr/>
      <dgm:t>
        <a:bodyPr/>
        <a:lstStyle/>
        <a:p>
          <a:endParaRPr lang="en-US"/>
        </a:p>
      </dgm:t>
    </dgm:pt>
    <dgm:pt modelId="{7872C9B5-63CE-4223-8FBE-EBBBAF6649A7}">
      <dgm:prSet/>
      <dgm:spPr/>
      <dgm:t>
        <a:bodyPr/>
        <a:lstStyle/>
        <a:p>
          <a:r>
            <a:rPr lang="en-US" baseline="0"/>
            <a:t>Compare the performance with the baseline</a:t>
          </a:r>
          <a:endParaRPr lang="en-US"/>
        </a:p>
      </dgm:t>
    </dgm:pt>
    <dgm:pt modelId="{762D4BE5-51CE-4543-8AA1-8975F265F6D8}" type="parTrans" cxnId="{5FDB5839-4803-4A12-A4BF-A9BF730D3457}">
      <dgm:prSet/>
      <dgm:spPr/>
      <dgm:t>
        <a:bodyPr/>
        <a:lstStyle/>
        <a:p>
          <a:endParaRPr lang="en-US"/>
        </a:p>
      </dgm:t>
    </dgm:pt>
    <dgm:pt modelId="{A7B74002-7D27-469F-9780-2FB9A9826A6C}" type="sibTrans" cxnId="{5FDB5839-4803-4A12-A4BF-A9BF730D3457}">
      <dgm:prSet/>
      <dgm:spPr/>
      <dgm:t>
        <a:bodyPr/>
        <a:lstStyle/>
        <a:p>
          <a:endParaRPr lang="en-US"/>
        </a:p>
      </dgm:t>
    </dgm:pt>
    <dgm:pt modelId="{27AFD58E-F330-46A4-A9B3-DCC18144E2E2}">
      <dgm:prSet/>
      <dgm:spPr/>
      <dgm:t>
        <a:bodyPr/>
        <a:lstStyle/>
        <a:p>
          <a:r>
            <a:rPr lang="en-US" baseline="0"/>
            <a:t>If performance improved?</a:t>
          </a:r>
          <a:endParaRPr lang="en-US"/>
        </a:p>
      </dgm:t>
    </dgm:pt>
    <dgm:pt modelId="{D76F3992-8CC9-4098-B778-CDCD477198D7}" type="parTrans" cxnId="{0CF901F5-BA0A-4416-8E2E-7347CFC025B6}">
      <dgm:prSet/>
      <dgm:spPr/>
      <dgm:t>
        <a:bodyPr/>
        <a:lstStyle/>
        <a:p>
          <a:endParaRPr lang="en-US"/>
        </a:p>
      </dgm:t>
    </dgm:pt>
    <dgm:pt modelId="{8EF2E8C6-6B87-461E-8E3D-3970A65A85FF}" type="sibTrans" cxnId="{0CF901F5-BA0A-4416-8E2E-7347CFC025B6}">
      <dgm:prSet/>
      <dgm:spPr/>
      <dgm:t>
        <a:bodyPr/>
        <a:lstStyle/>
        <a:p>
          <a:endParaRPr lang="en-US"/>
        </a:p>
      </dgm:t>
    </dgm:pt>
    <dgm:pt modelId="{74266BD0-D640-48D7-8D80-1E564CE3E0C2}">
      <dgm:prSet/>
      <dgm:spPr/>
      <dgm:t>
        <a:bodyPr/>
        <a:lstStyle/>
        <a:p>
          <a:r>
            <a:rPr lang="en-US" baseline="0"/>
            <a:t>Revert OR</a:t>
          </a:r>
          <a:endParaRPr lang="en-US"/>
        </a:p>
      </dgm:t>
    </dgm:pt>
    <dgm:pt modelId="{86E1BF6C-DCD5-4BA3-9E6A-2C628A4BEDC7}" type="parTrans" cxnId="{76E07B82-4713-4D76-9B52-4097F048B3A3}">
      <dgm:prSet/>
      <dgm:spPr/>
      <dgm:t>
        <a:bodyPr/>
        <a:lstStyle/>
        <a:p>
          <a:endParaRPr lang="en-US"/>
        </a:p>
      </dgm:t>
    </dgm:pt>
    <dgm:pt modelId="{EBD8AF03-12E4-483B-8FD1-D48EE52F5E3A}" type="sibTrans" cxnId="{76E07B82-4713-4D76-9B52-4097F048B3A3}">
      <dgm:prSet/>
      <dgm:spPr/>
      <dgm:t>
        <a:bodyPr/>
        <a:lstStyle/>
        <a:p>
          <a:endParaRPr lang="en-US"/>
        </a:p>
      </dgm:t>
    </dgm:pt>
    <dgm:pt modelId="{2A0836E4-1944-4C58-808B-0AA43337603C}">
      <dgm:prSet/>
      <dgm:spPr/>
      <dgm:t>
        <a:bodyPr/>
        <a:lstStyle/>
        <a:p>
          <a:r>
            <a:rPr lang="en-US" baseline="0"/>
            <a:t>Flagged as successful</a:t>
          </a:r>
          <a:endParaRPr lang="en-US"/>
        </a:p>
      </dgm:t>
    </dgm:pt>
    <dgm:pt modelId="{7C3EA5A1-5169-4D52-B74F-78CBDE3305B6}" type="parTrans" cxnId="{436BB400-6AB8-43B7-8AC3-D6772D805D6B}">
      <dgm:prSet/>
      <dgm:spPr/>
      <dgm:t>
        <a:bodyPr/>
        <a:lstStyle/>
        <a:p>
          <a:endParaRPr lang="en-US"/>
        </a:p>
      </dgm:t>
    </dgm:pt>
    <dgm:pt modelId="{00096AC9-2E24-4992-A75E-41036EB343EF}" type="sibTrans" cxnId="{436BB400-6AB8-43B7-8AC3-D6772D805D6B}">
      <dgm:prSet/>
      <dgm:spPr/>
      <dgm:t>
        <a:bodyPr/>
        <a:lstStyle/>
        <a:p>
          <a:endParaRPr lang="en-US"/>
        </a:p>
      </dgm:t>
    </dgm:pt>
    <dgm:pt modelId="{136A0AA8-EBF1-4D2D-A582-F5FCAECC752C}" type="pres">
      <dgm:prSet presAssocID="{AE2288F7-DF5B-4082-A712-BB7BB7590E5D}" presName="diagram" presStyleCnt="0">
        <dgm:presLayoutVars>
          <dgm:dir/>
          <dgm:resizeHandles val="exact"/>
        </dgm:presLayoutVars>
      </dgm:prSet>
      <dgm:spPr/>
    </dgm:pt>
    <dgm:pt modelId="{E80C573D-34B1-4358-AA4E-5EFA2414047B}" type="pres">
      <dgm:prSet presAssocID="{8F63086E-3385-4F5D-B24C-BF7DC5346ABB}" presName="node" presStyleLbl="node1" presStyleIdx="0" presStyleCnt="5">
        <dgm:presLayoutVars>
          <dgm:bulletEnabled val="1"/>
        </dgm:presLayoutVars>
      </dgm:prSet>
      <dgm:spPr/>
    </dgm:pt>
    <dgm:pt modelId="{0AC7A1FD-A96E-4C97-A67D-082DFD1453D6}" type="pres">
      <dgm:prSet presAssocID="{0CDBE963-A6CE-49D0-95C3-1216AD9291B4}" presName="sibTrans" presStyleLbl="sibTrans2D1" presStyleIdx="0" presStyleCnt="4"/>
      <dgm:spPr/>
    </dgm:pt>
    <dgm:pt modelId="{F63319BA-2CA4-4EC2-9C3F-832B8F54E4C5}" type="pres">
      <dgm:prSet presAssocID="{0CDBE963-A6CE-49D0-95C3-1216AD9291B4}" presName="connectorText" presStyleLbl="sibTrans2D1" presStyleIdx="0" presStyleCnt="4"/>
      <dgm:spPr/>
    </dgm:pt>
    <dgm:pt modelId="{0897747B-7424-41DA-A388-6DFFC2072DEE}" type="pres">
      <dgm:prSet presAssocID="{55565061-2270-488C-8464-6DFD21BD6E97}" presName="node" presStyleLbl="node1" presStyleIdx="1" presStyleCnt="5">
        <dgm:presLayoutVars>
          <dgm:bulletEnabled val="1"/>
        </dgm:presLayoutVars>
      </dgm:prSet>
      <dgm:spPr/>
    </dgm:pt>
    <dgm:pt modelId="{98371DF5-319C-4CA5-B2AC-637101843D9B}" type="pres">
      <dgm:prSet presAssocID="{CC2B1D16-4B6D-4EC0-B090-CE8B2C74BC15}" presName="sibTrans" presStyleLbl="sibTrans2D1" presStyleIdx="1" presStyleCnt="4"/>
      <dgm:spPr/>
    </dgm:pt>
    <dgm:pt modelId="{8F7FD644-F506-4C00-9C98-4F9DCC0CFE13}" type="pres">
      <dgm:prSet presAssocID="{CC2B1D16-4B6D-4EC0-B090-CE8B2C74BC15}" presName="connectorText" presStyleLbl="sibTrans2D1" presStyleIdx="1" presStyleCnt="4"/>
      <dgm:spPr/>
    </dgm:pt>
    <dgm:pt modelId="{291C2C19-BED8-4AD1-BD27-5BC3B7B60B93}" type="pres">
      <dgm:prSet presAssocID="{2E9F5771-B26B-448D-8937-16AA30B2FDBF}" presName="node" presStyleLbl="node1" presStyleIdx="2" presStyleCnt="5">
        <dgm:presLayoutVars>
          <dgm:bulletEnabled val="1"/>
        </dgm:presLayoutVars>
      </dgm:prSet>
      <dgm:spPr/>
    </dgm:pt>
    <dgm:pt modelId="{D9D2DB83-DAAE-4683-9155-7DEC28D526F2}" type="pres">
      <dgm:prSet presAssocID="{3EEF7299-496A-4FB4-BCFC-72ACCE3130B7}" presName="sibTrans" presStyleLbl="sibTrans2D1" presStyleIdx="2" presStyleCnt="4"/>
      <dgm:spPr/>
    </dgm:pt>
    <dgm:pt modelId="{582D9FCB-08AC-4863-997E-D0F696FA5D25}" type="pres">
      <dgm:prSet presAssocID="{3EEF7299-496A-4FB4-BCFC-72ACCE3130B7}" presName="connectorText" presStyleLbl="sibTrans2D1" presStyleIdx="2" presStyleCnt="4"/>
      <dgm:spPr/>
    </dgm:pt>
    <dgm:pt modelId="{C5DC7407-7790-4DFE-BD3F-09F06ADF199E}" type="pres">
      <dgm:prSet presAssocID="{7872C9B5-63CE-4223-8FBE-EBBBAF6649A7}" presName="node" presStyleLbl="node1" presStyleIdx="3" presStyleCnt="5">
        <dgm:presLayoutVars>
          <dgm:bulletEnabled val="1"/>
        </dgm:presLayoutVars>
      </dgm:prSet>
      <dgm:spPr/>
    </dgm:pt>
    <dgm:pt modelId="{46496C4C-D119-4309-BE99-CA36B7EB5046}" type="pres">
      <dgm:prSet presAssocID="{A7B74002-7D27-469F-9780-2FB9A9826A6C}" presName="sibTrans" presStyleLbl="sibTrans2D1" presStyleIdx="3" presStyleCnt="4"/>
      <dgm:spPr/>
    </dgm:pt>
    <dgm:pt modelId="{71082CB9-F5B5-4C68-BC13-4D7C3AE98F1D}" type="pres">
      <dgm:prSet presAssocID="{A7B74002-7D27-469F-9780-2FB9A9826A6C}" presName="connectorText" presStyleLbl="sibTrans2D1" presStyleIdx="3" presStyleCnt="4"/>
      <dgm:spPr/>
    </dgm:pt>
    <dgm:pt modelId="{3096631C-0991-4995-8688-2503C89EE5B8}" type="pres">
      <dgm:prSet presAssocID="{27AFD58E-F330-46A4-A9B3-DCC18144E2E2}" presName="node" presStyleLbl="node1" presStyleIdx="4" presStyleCnt="5">
        <dgm:presLayoutVars>
          <dgm:bulletEnabled val="1"/>
        </dgm:presLayoutVars>
      </dgm:prSet>
      <dgm:spPr/>
    </dgm:pt>
  </dgm:ptLst>
  <dgm:cxnLst>
    <dgm:cxn modelId="{436BB400-6AB8-43B7-8AC3-D6772D805D6B}" srcId="{27AFD58E-F330-46A4-A9B3-DCC18144E2E2}" destId="{2A0836E4-1944-4C58-808B-0AA43337603C}" srcOrd="1" destOrd="0" parTransId="{7C3EA5A1-5169-4D52-B74F-78CBDE3305B6}" sibTransId="{00096AC9-2E24-4992-A75E-41036EB343EF}"/>
    <dgm:cxn modelId="{E00A1401-7243-4D8A-8A34-9ECE798DF7E8}" type="presOf" srcId="{3EEF7299-496A-4FB4-BCFC-72ACCE3130B7}" destId="{582D9FCB-08AC-4863-997E-D0F696FA5D25}" srcOrd="1" destOrd="0" presId="urn:microsoft.com/office/officeart/2005/8/layout/process5"/>
    <dgm:cxn modelId="{DCE70C20-BCE2-4124-9B1D-48CB1B5F95FA}" type="presOf" srcId="{2A0836E4-1944-4C58-808B-0AA43337603C}" destId="{3096631C-0991-4995-8688-2503C89EE5B8}" srcOrd="0" destOrd="2" presId="urn:microsoft.com/office/officeart/2005/8/layout/process5"/>
    <dgm:cxn modelId="{E43EF82A-7A1A-432B-A480-7AECE223DE40}" type="presOf" srcId="{A7B74002-7D27-469F-9780-2FB9A9826A6C}" destId="{71082CB9-F5B5-4C68-BC13-4D7C3AE98F1D}" srcOrd="1" destOrd="0" presId="urn:microsoft.com/office/officeart/2005/8/layout/process5"/>
    <dgm:cxn modelId="{5FDB5839-4803-4A12-A4BF-A9BF730D3457}" srcId="{AE2288F7-DF5B-4082-A712-BB7BB7590E5D}" destId="{7872C9B5-63CE-4223-8FBE-EBBBAF6649A7}" srcOrd="3" destOrd="0" parTransId="{762D4BE5-51CE-4543-8AA1-8975F265F6D8}" sibTransId="{A7B74002-7D27-469F-9780-2FB9A9826A6C}"/>
    <dgm:cxn modelId="{00E17845-1BEF-4C41-8C2B-620EBA7B624F}" type="presOf" srcId="{A7B74002-7D27-469F-9780-2FB9A9826A6C}" destId="{46496C4C-D119-4309-BE99-CA36B7EB5046}" srcOrd="0" destOrd="0" presId="urn:microsoft.com/office/officeart/2005/8/layout/process5"/>
    <dgm:cxn modelId="{DD34BB6E-ECF5-4F2C-923C-323BA5C863FE}" type="presOf" srcId="{2E9F5771-B26B-448D-8937-16AA30B2FDBF}" destId="{291C2C19-BED8-4AD1-BD27-5BC3B7B60B93}" srcOrd="0" destOrd="0" presId="urn:microsoft.com/office/officeart/2005/8/layout/process5"/>
    <dgm:cxn modelId="{76E07B82-4713-4D76-9B52-4097F048B3A3}" srcId="{27AFD58E-F330-46A4-A9B3-DCC18144E2E2}" destId="{74266BD0-D640-48D7-8D80-1E564CE3E0C2}" srcOrd="0" destOrd="0" parTransId="{86E1BF6C-DCD5-4BA3-9E6A-2C628A4BEDC7}" sibTransId="{EBD8AF03-12E4-483B-8FD1-D48EE52F5E3A}"/>
    <dgm:cxn modelId="{A8F9D286-5144-4D70-AB81-76BF7D2AB7CA}" srcId="{AE2288F7-DF5B-4082-A712-BB7BB7590E5D}" destId="{8F63086E-3385-4F5D-B24C-BF7DC5346ABB}" srcOrd="0" destOrd="0" parTransId="{D58C90E4-5A8E-4A2F-B40D-DC62F697F125}" sibTransId="{0CDBE963-A6CE-49D0-95C3-1216AD9291B4}"/>
    <dgm:cxn modelId="{DC151993-B31B-405E-8AB7-259D0DC5E71C}" type="presOf" srcId="{74266BD0-D640-48D7-8D80-1E564CE3E0C2}" destId="{3096631C-0991-4995-8688-2503C89EE5B8}" srcOrd="0" destOrd="1" presId="urn:microsoft.com/office/officeart/2005/8/layout/process5"/>
    <dgm:cxn modelId="{D7811A93-D8BE-48C1-93F9-C69D080D3333}" type="presOf" srcId="{27AFD58E-F330-46A4-A9B3-DCC18144E2E2}" destId="{3096631C-0991-4995-8688-2503C89EE5B8}" srcOrd="0" destOrd="0" presId="urn:microsoft.com/office/officeart/2005/8/layout/process5"/>
    <dgm:cxn modelId="{240F02A0-67E6-422B-9ED7-76057AA565EE}" srcId="{AE2288F7-DF5B-4082-A712-BB7BB7590E5D}" destId="{55565061-2270-488C-8464-6DFD21BD6E97}" srcOrd="1" destOrd="0" parTransId="{9397FF83-18D9-4A8A-A95F-BD3BE8F6B3F0}" sibTransId="{CC2B1D16-4B6D-4EC0-B090-CE8B2C74BC15}"/>
    <dgm:cxn modelId="{3B054DA0-7A51-4B7E-8641-88190057A7FF}" type="presOf" srcId="{3EEF7299-496A-4FB4-BCFC-72ACCE3130B7}" destId="{D9D2DB83-DAAE-4683-9155-7DEC28D526F2}" srcOrd="0" destOrd="0" presId="urn:microsoft.com/office/officeart/2005/8/layout/process5"/>
    <dgm:cxn modelId="{AAAE66BA-7BBB-495C-A565-86C4842CE20F}" type="presOf" srcId="{AE2288F7-DF5B-4082-A712-BB7BB7590E5D}" destId="{136A0AA8-EBF1-4D2D-A582-F5FCAECC752C}" srcOrd="0" destOrd="0" presId="urn:microsoft.com/office/officeart/2005/8/layout/process5"/>
    <dgm:cxn modelId="{E0F5DBBD-71F6-45E0-A5C1-02702FA06EEA}" type="presOf" srcId="{7872C9B5-63CE-4223-8FBE-EBBBAF6649A7}" destId="{C5DC7407-7790-4DFE-BD3F-09F06ADF199E}" srcOrd="0" destOrd="0" presId="urn:microsoft.com/office/officeart/2005/8/layout/process5"/>
    <dgm:cxn modelId="{BFB58DDA-9207-4412-8A13-AD7968C05541}" type="presOf" srcId="{8F63086E-3385-4F5D-B24C-BF7DC5346ABB}" destId="{E80C573D-34B1-4358-AA4E-5EFA2414047B}" srcOrd="0" destOrd="0" presId="urn:microsoft.com/office/officeart/2005/8/layout/process5"/>
    <dgm:cxn modelId="{0573CADC-5420-4A92-96C8-7785D13D0AC7}" type="presOf" srcId="{55565061-2270-488C-8464-6DFD21BD6E97}" destId="{0897747B-7424-41DA-A388-6DFFC2072DEE}" srcOrd="0" destOrd="0" presId="urn:microsoft.com/office/officeart/2005/8/layout/process5"/>
    <dgm:cxn modelId="{43E53CDD-67E3-478F-A16D-F2482D12CBB5}" type="presOf" srcId="{CC2B1D16-4B6D-4EC0-B090-CE8B2C74BC15}" destId="{98371DF5-319C-4CA5-B2AC-637101843D9B}" srcOrd="0" destOrd="0" presId="urn:microsoft.com/office/officeart/2005/8/layout/process5"/>
    <dgm:cxn modelId="{153FCFDF-4C10-46FB-A0A1-F1E675F6C7DE}" type="presOf" srcId="{0CDBE963-A6CE-49D0-95C3-1216AD9291B4}" destId="{0AC7A1FD-A96E-4C97-A67D-082DFD1453D6}" srcOrd="0" destOrd="0" presId="urn:microsoft.com/office/officeart/2005/8/layout/process5"/>
    <dgm:cxn modelId="{9EBC9CE2-D429-4A38-8211-AC13F8FD0111}" srcId="{AE2288F7-DF5B-4082-A712-BB7BB7590E5D}" destId="{2E9F5771-B26B-448D-8937-16AA30B2FDBF}" srcOrd="2" destOrd="0" parTransId="{3929ADF2-A147-460E-813A-B0CBB787B0EA}" sibTransId="{3EEF7299-496A-4FB4-BCFC-72ACCE3130B7}"/>
    <dgm:cxn modelId="{44EDA4EA-EC2A-4D26-8A2C-93A18D10F769}" type="presOf" srcId="{CC2B1D16-4B6D-4EC0-B090-CE8B2C74BC15}" destId="{8F7FD644-F506-4C00-9C98-4F9DCC0CFE13}" srcOrd="1" destOrd="0" presId="urn:microsoft.com/office/officeart/2005/8/layout/process5"/>
    <dgm:cxn modelId="{0CF901F5-BA0A-4416-8E2E-7347CFC025B6}" srcId="{AE2288F7-DF5B-4082-A712-BB7BB7590E5D}" destId="{27AFD58E-F330-46A4-A9B3-DCC18144E2E2}" srcOrd="4" destOrd="0" parTransId="{D76F3992-8CC9-4098-B778-CDCD477198D7}" sibTransId="{8EF2E8C6-6B87-461E-8E3D-3970A65A85FF}"/>
    <dgm:cxn modelId="{8494DBF6-0736-40F7-A7B2-CC2C7C45A761}" type="presOf" srcId="{0CDBE963-A6CE-49D0-95C3-1216AD9291B4}" destId="{F63319BA-2CA4-4EC2-9C3F-832B8F54E4C5}" srcOrd="1" destOrd="0" presId="urn:microsoft.com/office/officeart/2005/8/layout/process5"/>
    <dgm:cxn modelId="{BC2044D3-2445-4BA9-B701-46AABBBE29C0}" type="presParOf" srcId="{136A0AA8-EBF1-4D2D-A582-F5FCAECC752C}" destId="{E80C573D-34B1-4358-AA4E-5EFA2414047B}" srcOrd="0" destOrd="0" presId="urn:microsoft.com/office/officeart/2005/8/layout/process5"/>
    <dgm:cxn modelId="{ABF355AD-EC6A-4844-B2C5-3963F196DED9}" type="presParOf" srcId="{136A0AA8-EBF1-4D2D-A582-F5FCAECC752C}" destId="{0AC7A1FD-A96E-4C97-A67D-082DFD1453D6}" srcOrd="1" destOrd="0" presId="urn:microsoft.com/office/officeart/2005/8/layout/process5"/>
    <dgm:cxn modelId="{E5A01FA2-4406-44E6-878A-62DED13EC9A1}" type="presParOf" srcId="{0AC7A1FD-A96E-4C97-A67D-082DFD1453D6}" destId="{F63319BA-2CA4-4EC2-9C3F-832B8F54E4C5}" srcOrd="0" destOrd="0" presId="urn:microsoft.com/office/officeart/2005/8/layout/process5"/>
    <dgm:cxn modelId="{12C18C08-B255-4EE3-B542-64DC16244C23}" type="presParOf" srcId="{136A0AA8-EBF1-4D2D-A582-F5FCAECC752C}" destId="{0897747B-7424-41DA-A388-6DFFC2072DEE}" srcOrd="2" destOrd="0" presId="urn:microsoft.com/office/officeart/2005/8/layout/process5"/>
    <dgm:cxn modelId="{43B5B0A4-E0D3-4942-81A2-B36CD4C1B8BC}" type="presParOf" srcId="{136A0AA8-EBF1-4D2D-A582-F5FCAECC752C}" destId="{98371DF5-319C-4CA5-B2AC-637101843D9B}" srcOrd="3" destOrd="0" presId="urn:microsoft.com/office/officeart/2005/8/layout/process5"/>
    <dgm:cxn modelId="{CE0349D4-56DF-4D8D-A179-3B6F4B77F8AE}" type="presParOf" srcId="{98371DF5-319C-4CA5-B2AC-637101843D9B}" destId="{8F7FD644-F506-4C00-9C98-4F9DCC0CFE13}" srcOrd="0" destOrd="0" presId="urn:microsoft.com/office/officeart/2005/8/layout/process5"/>
    <dgm:cxn modelId="{E7182EEB-DCC5-49A1-A9D3-8D90FF33C3BC}" type="presParOf" srcId="{136A0AA8-EBF1-4D2D-A582-F5FCAECC752C}" destId="{291C2C19-BED8-4AD1-BD27-5BC3B7B60B93}" srcOrd="4" destOrd="0" presId="urn:microsoft.com/office/officeart/2005/8/layout/process5"/>
    <dgm:cxn modelId="{674D2AA9-422B-4D41-A212-C21BE69467DF}" type="presParOf" srcId="{136A0AA8-EBF1-4D2D-A582-F5FCAECC752C}" destId="{D9D2DB83-DAAE-4683-9155-7DEC28D526F2}" srcOrd="5" destOrd="0" presId="urn:microsoft.com/office/officeart/2005/8/layout/process5"/>
    <dgm:cxn modelId="{E3E1C5E9-59FD-40A2-ACCC-08BC4FED2F23}" type="presParOf" srcId="{D9D2DB83-DAAE-4683-9155-7DEC28D526F2}" destId="{582D9FCB-08AC-4863-997E-D0F696FA5D25}" srcOrd="0" destOrd="0" presId="urn:microsoft.com/office/officeart/2005/8/layout/process5"/>
    <dgm:cxn modelId="{C2134924-3911-473A-B96C-178509E30BC7}" type="presParOf" srcId="{136A0AA8-EBF1-4D2D-A582-F5FCAECC752C}" destId="{C5DC7407-7790-4DFE-BD3F-09F06ADF199E}" srcOrd="6" destOrd="0" presId="urn:microsoft.com/office/officeart/2005/8/layout/process5"/>
    <dgm:cxn modelId="{DB72E7B8-23F1-495A-842C-C5907EB6F113}" type="presParOf" srcId="{136A0AA8-EBF1-4D2D-A582-F5FCAECC752C}" destId="{46496C4C-D119-4309-BE99-CA36B7EB5046}" srcOrd="7" destOrd="0" presId="urn:microsoft.com/office/officeart/2005/8/layout/process5"/>
    <dgm:cxn modelId="{88628128-D0B9-4EBE-BAA0-9A34402CEE3E}" type="presParOf" srcId="{46496C4C-D119-4309-BE99-CA36B7EB5046}" destId="{71082CB9-F5B5-4C68-BC13-4D7C3AE98F1D}" srcOrd="0" destOrd="0" presId="urn:microsoft.com/office/officeart/2005/8/layout/process5"/>
    <dgm:cxn modelId="{76FCDC46-3ECD-4F68-8C31-A55163834C5B}" type="presParOf" srcId="{136A0AA8-EBF1-4D2D-A582-F5FCAECC752C}" destId="{3096631C-0991-4995-8688-2503C89EE5B8}" srcOrd="8" destOrd="0" presId="urn:microsoft.com/office/officeart/2005/8/layout/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79E0C74E-B03A-4AEE-B205-2B1378E50384}" type="doc">
      <dgm:prSet loTypeId="urn:microsoft.com/office/officeart/2005/8/layout/bProcess3" loCatId="process" qsTypeId="urn:microsoft.com/office/officeart/2005/8/quickstyle/simple2" qsCatId="simple" csTypeId="urn:microsoft.com/office/officeart/2005/8/colors/accent1_2" csCatId="accent1" phldr="1"/>
      <dgm:spPr/>
      <dgm:t>
        <a:bodyPr/>
        <a:lstStyle/>
        <a:p>
          <a:endParaRPr lang="en-US"/>
        </a:p>
      </dgm:t>
    </dgm:pt>
    <dgm:pt modelId="{5036DA79-6B82-4AB3-BE2C-CC9B6E88E0DA}">
      <dgm:prSet/>
      <dgm:spPr/>
      <dgm:t>
        <a:bodyPr/>
        <a:lstStyle/>
        <a:p>
          <a:r>
            <a:rPr lang="en-US" baseline="0"/>
            <a:t>Queries that are constantly being recompiled but end up with the same query execution plan</a:t>
          </a:r>
          <a:endParaRPr lang="en-US"/>
        </a:p>
      </dgm:t>
    </dgm:pt>
    <dgm:pt modelId="{A041B988-06AE-49FE-9AC4-A4735D7949B5}" type="parTrans" cxnId="{F77EDBC8-AA51-44A2-9A4B-06188942D524}">
      <dgm:prSet/>
      <dgm:spPr/>
      <dgm:t>
        <a:bodyPr/>
        <a:lstStyle/>
        <a:p>
          <a:endParaRPr lang="en-US" sz="2000"/>
        </a:p>
      </dgm:t>
    </dgm:pt>
    <dgm:pt modelId="{FB38222B-9438-48B3-BCFF-BF297D451B9E}" type="sibTrans" cxnId="{F77EDBC8-AA51-44A2-9A4B-06188942D524}">
      <dgm:prSet/>
      <dgm:spPr/>
      <dgm:t>
        <a:bodyPr/>
        <a:lstStyle/>
        <a:p>
          <a:endParaRPr lang="en-US"/>
        </a:p>
      </dgm:t>
    </dgm:pt>
    <dgm:pt modelId="{E385A4C2-47F8-476B-A617-FED2514F4094}">
      <dgm:prSet/>
      <dgm:spPr/>
      <dgm:t>
        <a:bodyPr/>
        <a:lstStyle/>
        <a:p>
          <a:r>
            <a:rPr lang="nl-BE" baseline="0"/>
            <a:t>Forced parameterization</a:t>
          </a:r>
          <a:endParaRPr lang="en-US"/>
        </a:p>
      </dgm:t>
    </dgm:pt>
    <dgm:pt modelId="{10D0E3E6-96C3-48D2-8F4B-0727EBC97C8A}" type="parTrans" cxnId="{E378C709-35AB-4DD2-8226-4BB4DAFBAF89}">
      <dgm:prSet/>
      <dgm:spPr/>
      <dgm:t>
        <a:bodyPr/>
        <a:lstStyle/>
        <a:p>
          <a:endParaRPr lang="en-US" sz="2000"/>
        </a:p>
      </dgm:t>
    </dgm:pt>
    <dgm:pt modelId="{2A4A9860-0FAA-4954-9A54-9762B83AC5C5}" type="sibTrans" cxnId="{E378C709-35AB-4DD2-8226-4BB4DAFBAF89}">
      <dgm:prSet/>
      <dgm:spPr/>
      <dgm:t>
        <a:bodyPr/>
        <a:lstStyle/>
        <a:p>
          <a:endParaRPr lang="en-US"/>
        </a:p>
      </dgm:t>
    </dgm:pt>
    <dgm:pt modelId="{3BCE1CE5-8324-4965-9AD1-93B397A1AB03}">
      <dgm:prSet/>
      <dgm:spPr/>
      <dgm:t>
        <a:bodyPr/>
        <a:lstStyle/>
        <a:p>
          <a:r>
            <a:rPr lang="en-US" baseline="0"/>
            <a:t>Apply the recommendation</a:t>
          </a:r>
          <a:endParaRPr lang="en-US"/>
        </a:p>
      </dgm:t>
    </dgm:pt>
    <dgm:pt modelId="{401ABB71-CF9D-4A1A-B454-4A38592338B7}" type="parTrans" cxnId="{078C8A69-7058-4E13-AA8E-BCCB3BBF4683}">
      <dgm:prSet/>
      <dgm:spPr/>
      <dgm:t>
        <a:bodyPr/>
        <a:lstStyle/>
        <a:p>
          <a:endParaRPr lang="en-US" sz="2000"/>
        </a:p>
      </dgm:t>
    </dgm:pt>
    <dgm:pt modelId="{F48CF607-39FA-4D63-91FF-18205F369B8E}" type="sibTrans" cxnId="{078C8A69-7058-4E13-AA8E-BCCB3BBF4683}">
      <dgm:prSet/>
      <dgm:spPr/>
      <dgm:t>
        <a:bodyPr/>
        <a:lstStyle/>
        <a:p>
          <a:endParaRPr lang="en-US"/>
        </a:p>
      </dgm:t>
    </dgm:pt>
    <dgm:pt modelId="{1B77E63E-7A2F-437D-8C3C-FC615CAB4432}">
      <dgm:prSet/>
      <dgm:spPr/>
      <dgm:t>
        <a:bodyPr/>
        <a:lstStyle/>
        <a:p>
          <a:r>
            <a:rPr lang="en-US" baseline="0"/>
            <a:t>Compare the performance with the baseline</a:t>
          </a:r>
          <a:endParaRPr lang="en-US"/>
        </a:p>
      </dgm:t>
    </dgm:pt>
    <dgm:pt modelId="{D5D9362C-442D-4677-A4E9-EA29F663C7F3}" type="parTrans" cxnId="{BD59CC64-884B-4EE3-A707-9971AC207D36}">
      <dgm:prSet/>
      <dgm:spPr/>
      <dgm:t>
        <a:bodyPr/>
        <a:lstStyle/>
        <a:p>
          <a:endParaRPr lang="en-US" sz="2000"/>
        </a:p>
      </dgm:t>
    </dgm:pt>
    <dgm:pt modelId="{043ACA03-E205-4FD1-9D3E-5D531DB4A24A}" type="sibTrans" cxnId="{BD59CC64-884B-4EE3-A707-9971AC207D36}">
      <dgm:prSet/>
      <dgm:spPr/>
      <dgm:t>
        <a:bodyPr/>
        <a:lstStyle/>
        <a:p>
          <a:endParaRPr lang="en-US"/>
        </a:p>
      </dgm:t>
    </dgm:pt>
    <dgm:pt modelId="{313ECD73-CB2E-4BBB-B217-2FC3A3F80266}">
      <dgm:prSet/>
      <dgm:spPr/>
      <dgm:t>
        <a:bodyPr/>
        <a:lstStyle/>
        <a:p>
          <a:r>
            <a:rPr lang="en-US" sz="2000" baseline="0" dirty="0"/>
            <a:t>If performance improved?</a:t>
          </a:r>
          <a:endParaRPr lang="en-US" sz="2000" dirty="0"/>
        </a:p>
      </dgm:t>
    </dgm:pt>
    <dgm:pt modelId="{BEECAC44-997E-4A0C-862C-912FDBAE9794}" type="parTrans" cxnId="{BA7F9983-35FA-45B8-8FD6-BAC881E4A120}">
      <dgm:prSet/>
      <dgm:spPr/>
      <dgm:t>
        <a:bodyPr/>
        <a:lstStyle/>
        <a:p>
          <a:endParaRPr lang="en-US" sz="2000"/>
        </a:p>
      </dgm:t>
    </dgm:pt>
    <dgm:pt modelId="{4343FACB-099A-4104-8B79-52BEC9C1C999}" type="sibTrans" cxnId="{BA7F9983-35FA-45B8-8FD6-BAC881E4A120}">
      <dgm:prSet/>
      <dgm:spPr/>
      <dgm:t>
        <a:bodyPr/>
        <a:lstStyle/>
        <a:p>
          <a:endParaRPr lang="en-US"/>
        </a:p>
      </dgm:t>
    </dgm:pt>
    <dgm:pt modelId="{55C78A7D-DDF3-49D8-8395-FDDFEBD587D7}">
      <dgm:prSet custT="1"/>
      <dgm:spPr/>
      <dgm:t>
        <a:bodyPr/>
        <a:lstStyle/>
        <a:p>
          <a:r>
            <a:rPr lang="en-US" sz="1800" baseline="0" dirty="0"/>
            <a:t>Revert OR</a:t>
          </a:r>
          <a:endParaRPr lang="en-US" sz="1800" dirty="0"/>
        </a:p>
      </dgm:t>
    </dgm:pt>
    <dgm:pt modelId="{FA336D78-C555-48B2-B821-EF8199778819}" type="parTrans" cxnId="{015719AD-8340-4E85-AEC7-6DD2ECF7B566}">
      <dgm:prSet/>
      <dgm:spPr/>
      <dgm:t>
        <a:bodyPr/>
        <a:lstStyle/>
        <a:p>
          <a:endParaRPr lang="en-US" sz="2000"/>
        </a:p>
      </dgm:t>
    </dgm:pt>
    <dgm:pt modelId="{DAFF3DDD-540F-4163-B609-39E132870915}" type="sibTrans" cxnId="{015719AD-8340-4E85-AEC7-6DD2ECF7B566}">
      <dgm:prSet/>
      <dgm:spPr/>
      <dgm:t>
        <a:bodyPr/>
        <a:lstStyle/>
        <a:p>
          <a:endParaRPr lang="en-US"/>
        </a:p>
      </dgm:t>
    </dgm:pt>
    <dgm:pt modelId="{3A49689C-9167-4FD8-AC82-7E19DD5FB99F}">
      <dgm:prSet custT="1"/>
      <dgm:spPr/>
      <dgm:t>
        <a:bodyPr/>
        <a:lstStyle/>
        <a:p>
          <a:r>
            <a:rPr lang="en-US" sz="1800" baseline="0" dirty="0"/>
            <a:t>Flagged as successful</a:t>
          </a:r>
          <a:endParaRPr lang="en-US" sz="1800" dirty="0"/>
        </a:p>
      </dgm:t>
    </dgm:pt>
    <dgm:pt modelId="{B5FE3F66-AEB3-4D9C-8EB4-56C4866A6A8B}" type="parTrans" cxnId="{5F20BCC2-EA81-4BF6-984E-C87254AE84C5}">
      <dgm:prSet/>
      <dgm:spPr/>
      <dgm:t>
        <a:bodyPr/>
        <a:lstStyle/>
        <a:p>
          <a:endParaRPr lang="en-US" sz="2000"/>
        </a:p>
      </dgm:t>
    </dgm:pt>
    <dgm:pt modelId="{14D32C0D-8757-4FF2-B9F2-1E0612D3A9D9}" type="sibTrans" cxnId="{5F20BCC2-EA81-4BF6-984E-C87254AE84C5}">
      <dgm:prSet/>
      <dgm:spPr/>
      <dgm:t>
        <a:bodyPr/>
        <a:lstStyle/>
        <a:p>
          <a:endParaRPr lang="en-US"/>
        </a:p>
      </dgm:t>
    </dgm:pt>
    <dgm:pt modelId="{E16D9A5E-F37E-4DB3-8DFE-43A057CBA3E0}" type="pres">
      <dgm:prSet presAssocID="{79E0C74E-B03A-4AEE-B205-2B1378E50384}" presName="Name0" presStyleCnt="0">
        <dgm:presLayoutVars>
          <dgm:dir/>
          <dgm:resizeHandles val="exact"/>
        </dgm:presLayoutVars>
      </dgm:prSet>
      <dgm:spPr/>
    </dgm:pt>
    <dgm:pt modelId="{0A0BE8D9-0712-4B1B-9797-EAC0DF3972BD}" type="pres">
      <dgm:prSet presAssocID="{5036DA79-6B82-4AB3-BE2C-CC9B6E88E0DA}" presName="node" presStyleLbl="node1" presStyleIdx="0" presStyleCnt="5">
        <dgm:presLayoutVars>
          <dgm:bulletEnabled val="1"/>
        </dgm:presLayoutVars>
      </dgm:prSet>
      <dgm:spPr/>
    </dgm:pt>
    <dgm:pt modelId="{074E1059-290A-4E86-A943-EC531EFB99FF}" type="pres">
      <dgm:prSet presAssocID="{FB38222B-9438-48B3-BCFF-BF297D451B9E}" presName="sibTrans" presStyleLbl="sibTrans1D1" presStyleIdx="0" presStyleCnt="4"/>
      <dgm:spPr/>
    </dgm:pt>
    <dgm:pt modelId="{2FEB3C8B-6419-4FF6-8228-8B9DFA507618}" type="pres">
      <dgm:prSet presAssocID="{FB38222B-9438-48B3-BCFF-BF297D451B9E}" presName="connectorText" presStyleLbl="sibTrans1D1" presStyleIdx="0" presStyleCnt="4"/>
      <dgm:spPr/>
    </dgm:pt>
    <dgm:pt modelId="{965C4AEE-251E-41ED-A257-B8E2CB0DE436}" type="pres">
      <dgm:prSet presAssocID="{E385A4C2-47F8-476B-A617-FED2514F4094}" presName="node" presStyleLbl="node1" presStyleIdx="1" presStyleCnt="5">
        <dgm:presLayoutVars>
          <dgm:bulletEnabled val="1"/>
        </dgm:presLayoutVars>
      </dgm:prSet>
      <dgm:spPr/>
    </dgm:pt>
    <dgm:pt modelId="{B57882D5-6002-4E3A-B21F-E3A8FF97023E}" type="pres">
      <dgm:prSet presAssocID="{2A4A9860-0FAA-4954-9A54-9762B83AC5C5}" presName="sibTrans" presStyleLbl="sibTrans1D1" presStyleIdx="1" presStyleCnt="4"/>
      <dgm:spPr/>
    </dgm:pt>
    <dgm:pt modelId="{08F267D5-DFA8-4EC1-B714-136AB925B82D}" type="pres">
      <dgm:prSet presAssocID="{2A4A9860-0FAA-4954-9A54-9762B83AC5C5}" presName="connectorText" presStyleLbl="sibTrans1D1" presStyleIdx="1" presStyleCnt="4"/>
      <dgm:spPr/>
    </dgm:pt>
    <dgm:pt modelId="{31279DE9-3708-423A-BA93-92C72BD200F5}" type="pres">
      <dgm:prSet presAssocID="{3BCE1CE5-8324-4965-9AD1-93B397A1AB03}" presName="node" presStyleLbl="node1" presStyleIdx="2" presStyleCnt="5">
        <dgm:presLayoutVars>
          <dgm:bulletEnabled val="1"/>
        </dgm:presLayoutVars>
      </dgm:prSet>
      <dgm:spPr/>
    </dgm:pt>
    <dgm:pt modelId="{A717592F-E413-44B9-B6AF-23F2D1E50026}" type="pres">
      <dgm:prSet presAssocID="{F48CF607-39FA-4D63-91FF-18205F369B8E}" presName="sibTrans" presStyleLbl="sibTrans1D1" presStyleIdx="2" presStyleCnt="4"/>
      <dgm:spPr/>
    </dgm:pt>
    <dgm:pt modelId="{09B4D4BC-D600-4B2F-81FE-767D063EDF88}" type="pres">
      <dgm:prSet presAssocID="{F48CF607-39FA-4D63-91FF-18205F369B8E}" presName="connectorText" presStyleLbl="sibTrans1D1" presStyleIdx="2" presStyleCnt="4"/>
      <dgm:spPr/>
    </dgm:pt>
    <dgm:pt modelId="{98E41D80-8538-4E6F-824B-D26272E2BEC9}" type="pres">
      <dgm:prSet presAssocID="{1B77E63E-7A2F-437D-8C3C-FC615CAB4432}" presName="node" presStyleLbl="node1" presStyleIdx="3" presStyleCnt="5">
        <dgm:presLayoutVars>
          <dgm:bulletEnabled val="1"/>
        </dgm:presLayoutVars>
      </dgm:prSet>
      <dgm:spPr/>
    </dgm:pt>
    <dgm:pt modelId="{6E92A483-1B00-4934-A975-AE36164B82C1}" type="pres">
      <dgm:prSet presAssocID="{043ACA03-E205-4FD1-9D3E-5D531DB4A24A}" presName="sibTrans" presStyleLbl="sibTrans1D1" presStyleIdx="3" presStyleCnt="4"/>
      <dgm:spPr/>
    </dgm:pt>
    <dgm:pt modelId="{0FDD5AD3-59A7-4A1D-AB7A-77977BCADCBE}" type="pres">
      <dgm:prSet presAssocID="{043ACA03-E205-4FD1-9D3E-5D531DB4A24A}" presName="connectorText" presStyleLbl="sibTrans1D1" presStyleIdx="3" presStyleCnt="4"/>
      <dgm:spPr/>
    </dgm:pt>
    <dgm:pt modelId="{8D85E95D-29B1-43CD-A02D-CFB4E94F0E31}" type="pres">
      <dgm:prSet presAssocID="{313ECD73-CB2E-4BBB-B217-2FC3A3F80266}" presName="node" presStyleLbl="node1" presStyleIdx="4" presStyleCnt="5">
        <dgm:presLayoutVars>
          <dgm:bulletEnabled val="1"/>
        </dgm:presLayoutVars>
      </dgm:prSet>
      <dgm:spPr/>
    </dgm:pt>
  </dgm:ptLst>
  <dgm:cxnLst>
    <dgm:cxn modelId="{E378C709-35AB-4DD2-8226-4BB4DAFBAF89}" srcId="{79E0C74E-B03A-4AEE-B205-2B1378E50384}" destId="{E385A4C2-47F8-476B-A617-FED2514F4094}" srcOrd="1" destOrd="0" parTransId="{10D0E3E6-96C3-48D2-8F4B-0727EBC97C8A}" sibTransId="{2A4A9860-0FAA-4954-9A54-9762B83AC5C5}"/>
    <dgm:cxn modelId="{40553514-D827-4FA2-AEE5-3F9F0C435B65}" type="presOf" srcId="{55C78A7D-DDF3-49D8-8395-FDDFEBD587D7}" destId="{8D85E95D-29B1-43CD-A02D-CFB4E94F0E31}" srcOrd="0" destOrd="1" presId="urn:microsoft.com/office/officeart/2005/8/layout/bProcess3"/>
    <dgm:cxn modelId="{918D621F-DD8D-4747-B618-B04A72A20385}" type="presOf" srcId="{2A4A9860-0FAA-4954-9A54-9762B83AC5C5}" destId="{08F267D5-DFA8-4EC1-B714-136AB925B82D}" srcOrd="1" destOrd="0" presId="urn:microsoft.com/office/officeart/2005/8/layout/bProcess3"/>
    <dgm:cxn modelId="{4604FD2C-3928-49AE-81FC-95020A8A9344}" type="presOf" srcId="{E385A4C2-47F8-476B-A617-FED2514F4094}" destId="{965C4AEE-251E-41ED-A257-B8E2CB0DE436}" srcOrd="0" destOrd="0" presId="urn:microsoft.com/office/officeart/2005/8/layout/bProcess3"/>
    <dgm:cxn modelId="{21B6905D-AF39-4A0B-891B-9DE8818F11F9}" type="presOf" srcId="{2A4A9860-0FAA-4954-9A54-9762B83AC5C5}" destId="{B57882D5-6002-4E3A-B21F-E3A8FF97023E}" srcOrd="0" destOrd="0" presId="urn:microsoft.com/office/officeart/2005/8/layout/bProcess3"/>
    <dgm:cxn modelId="{BD59CC64-884B-4EE3-A707-9971AC207D36}" srcId="{79E0C74E-B03A-4AEE-B205-2B1378E50384}" destId="{1B77E63E-7A2F-437D-8C3C-FC615CAB4432}" srcOrd="3" destOrd="0" parTransId="{D5D9362C-442D-4677-A4E9-EA29F663C7F3}" sibTransId="{043ACA03-E205-4FD1-9D3E-5D531DB4A24A}"/>
    <dgm:cxn modelId="{078C8A69-7058-4E13-AA8E-BCCB3BBF4683}" srcId="{79E0C74E-B03A-4AEE-B205-2B1378E50384}" destId="{3BCE1CE5-8324-4965-9AD1-93B397A1AB03}" srcOrd="2" destOrd="0" parTransId="{401ABB71-CF9D-4A1A-B454-4A38592338B7}" sibTransId="{F48CF607-39FA-4D63-91FF-18205F369B8E}"/>
    <dgm:cxn modelId="{7509346A-D2D3-48C1-BDA9-FDC1B7A77569}" type="presOf" srcId="{043ACA03-E205-4FD1-9D3E-5D531DB4A24A}" destId="{6E92A483-1B00-4934-A975-AE36164B82C1}" srcOrd="0" destOrd="0" presId="urn:microsoft.com/office/officeart/2005/8/layout/bProcess3"/>
    <dgm:cxn modelId="{3818C96D-09FC-4C66-BFD0-E5214163D6F9}" type="presOf" srcId="{1B77E63E-7A2F-437D-8C3C-FC615CAB4432}" destId="{98E41D80-8538-4E6F-824B-D26272E2BEC9}" srcOrd="0" destOrd="0" presId="urn:microsoft.com/office/officeart/2005/8/layout/bProcess3"/>
    <dgm:cxn modelId="{BA7F9983-35FA-45B8-8FD6-BAC881E4A120}" srcId="{79E0C74E-B03A-4AEE-B205-2B1378E50384}" destId="{313ECD73-CB2E-4BBB-B217-2FC3A3F80266}" srcOrd="4" destOrd="0" parTransId="{BEECAC44-997E-4A0C-862C-912FDBAE9794}" sibTransId="{4343FACB-099A-4104-8B79-52BEC9C1C999}"/>
    <dgm:cxn modelId="{C7FEC983-462E-4C30-BC7C-B0219C8E64A0}" type="presOf" srcId="{5036DA79-6B82-4AB3-BE2C-CC9B6E88E0DA}" destId="{0A0BE8D9-0712-4B1B-9797-EAC0DF3972BD}" srcOrd="0" destOrd="0" presId="urn:microsoft.com/office/officeart/2005/8/layout/bProcess3"/>
    <dgm:cxn modelId="{0E46DC85-086A-4469-9C5B-2B797A4E91FA}" type="presOf" srcId="{3BCE1CE5-8324-4965-9AD1-93B397A1AB03}" destId="{31279DE9-3708-423A-BA93-92C72BD200F5}" srcOrd="0" destOrd="0" presId="urn:microsoft.com/office/officeart/2005/8/layout/bProcess3"/>
    <dgm:cxn modelId="{70BCF68B-DFA7-4D4D-A62A-97C5E273326A}" type="presOf" srcId="{FB38222B-9438-48B3-BCFF-BF297D451B9E}" destId="{2FEB3C8B-6419-4FF6-8228-8B9DFA507618}" srcOrd="1" destOrd="0" presId="urn:microsoft.com/office/officeart/2005/8/layout/bProcess3"/>
    <dgm:cxn modelId="{57D0858F-CCBC-494D-B42E-115A7824417E}" type="presOf" srcId="{79E0C74E-B03A-4AEE-B205-2B1378E50384}" destId="{E16D9A5E-F37E-4DB3-8DFE-43A057CBA3E0}" srcOrd="0" destOrd="0" presId="urn:microsoft.com/office/officeart/2005/8/layout/bProcess3"/>
    <dgm:cxn modelId="{8E14E599-547C-4323-85EF-72F3525C4848}" type="presOf" srcId="{F48CF607-39FA-4D63-91FF-18205F369B8E}" destId="{A717592F-E413-44B9-B6AF-23F2D1E50026}" srcOrd="0" destOrd="0" presId="urn:microsoft.com/office/officeart/2005/8/layout/bProcess3"/>
    <dgm:cxn modelId="{015719AD-8340-4E85-AEC7-6DD2ECF7B566}" srcId="{313ECD73-CB2E-4BBB-B217-2FC3A3F80266}" destId="{55C78A7D-DDF3-49D8-8395-FDDFEBD587D7}" srcOrd="0" destOrd="0" parTransId="{FA336D78-C555-48B2-B821-EF8199778819}" sibTransId="{DAFF3DDD-540F-4163-B609-39E132870915}"/>
    <dgm:cxn modelId="{DB811FBA-7BEE-42BB-83FE-DCE3284665D2}" type="presOf" srcId="{313ECD73-CB2E-4BBB-B217-2FC3A3F80266}" destId="{8D85E95D-29B1-43CD-A02D-CFB4E94F0E31}" srcOrd="0" destOrd="0" presId="urn:microsoft.com/office/officeart/2005/8/layout/bProcess3"/>
    <dgm:cxn modelId="{5F20BCC2-EA81-4BF6-984E-C87254AE84C5}" srcId="{313ECD73-CB2E-4BBB-B217-2FC3A3F80266}" destId="{3A49689C-9167-4FD8-AC82-7E19DD5FB99F}" srcOrd="1" destOrd="0" parTransId="{B5FE3F66-AEB3-4D9C-8EB4-56C4866A6A8B}" sibTransId="{14D32C0D-8757-4FF2-B9F2-1E0612D3A9D9}"/>
    <dgm:cxn modelId="{A3F179C8-B47F-4E54-9A7B-85A8DCE987B3}" type="presOf" srcId="{FB38222B-9438-48B3-BCFF-BF297D451B9E}" destId="{074E1059-290A-4E86-A943-EC531EFB99FF}" srcOrd="0" destOrd="0" presId="urn:microsoft.com/office/officeart/2005/8/layout/bProcess3"/>
    <dgm:cxn modelId="{F77EDBC8-AA51-44A2-9A4B-06188942D524}" srcId="{79E0C74E-B03A-4AEE-B205-2B1378E50384}" destId="{5036DA79-6B82-4AB3-BE2C-CC9B6E88E0DA}" srcOrd="0" destOrd="0" parTransId="{A041B988-06AE-49FE-9AC4-A4735D7949B5}" sibTransId="{FB38222B-9438-48B3-BCFF-BF297D451B9E}"/>
    <dgm:cxn modelId="{C7C41CD6-7B67-4BEE-9ED2-DE6054A207A5}" type="presOf" srcId="{F48CF607-39FA-4D63-91FF-18205F369B8E}" destId="{09B4D4BC-D600-4B2F-81FE-767D063EDF88}" srcOrd="1" destOrd="0" presId="urn:microsoft.com/office/officeart/2005/8/layout/bProcess3"/>
    <dgm:cxn modelId="{0B754CEF-4016-4D19-843B-D398C50A6B29}" type="presOf" srcId="{3A49689C-9167-4FD8-AC82-7E19DD5FB99F}" destId="{8D85E95D-29B1-43CD-A02D-CFB4E94F0E31}" srcOrd="0" destOrd="2" presId="urn:microsoft.com/office/officeart/2005/8/layout/bProcess3"/>
    <dgm:cxn modelId="{5965EEF5-1A57-4F79-AC3E-94A3357907D2}" type="presOf" srcId="{043ACA03-E205-4FD1-9D3E-5D531DB4A24A}" destId="{0FDD5AD3-59A7-4A1D-AB7A-77977BCADCBE}" srcOrd="1" destOrd="0" presId="urn:microsoft.com/office/officeart/2005/8/layout/bProcess3"/>
    <dgm:cxn modelId="{FFC64777-8F46-4A12-9725-8BCCF4076745}" type="presParOf" srcId="{E16D9A5E-F37E-4DB3-8DFE-43A057CBA3E0}" destId="{0A0BE8D9-0712-4B1B-9797-EAC0DF3972BD}" srcOrd="0" destOrd="0" presId="urn:microsoft.com/office/officeart/2005/8/layout/bProcess3"/>
    <dgm:cxn modelId="{D96D6543-DCD3-499A-98F6-8BEDCFD6460A}" type="presParOf" srcId="{E16D9A5E-F37E-4DB3-8DFE-43A057CBA3E0}" destId="{074E1059-290A-4E86-A943-EC531EFB99FF}" srcOrd="1" destOrd="0" presId="urn:microsoft.com/office/officeart/2005/8/layout/bProcess3"/>
    <dgm:cxn modelId="{BBE41D08-33E7-4711-893D-CA1A3A7E9C97}" type="presParOf" srcId="{074E1059-290A-4E86-A943-EC531EFB99FF}" destId="{2FEB3C8B-6419-4FF6-8228-8B9DFA507618}" srcOrd="0" destOrd="0" presId="urn:microsoft.com/office/officeart/2005/8/layout/bProcess3"/>
    <dgm:cxn modelId="{7003647F-0570-4487-A5DB-43A58982FBFC}" type="presParOf" srcId="{E16D9A5E-F37E-4DB3-8DFE-43A057CBA3E0}" destId="{965C4AEE-251E-41ED-A257-B8E2CB0DE436}" srcOrd="2" destOrd="0" presId="urn:microsoft.com/office/officeart/2005/8/layout/bProcess3"/>
    <dgm:cxn modelId="{7CA2F837-D380-4761-A804-AFA7147A146D}" type="presParOf" srcId="{E16D9A5E-F37E-4DB3-8DFE-43A057CBA3E0}" destId="{B57882D5-6002-4E3A-B21F-E3A8FF97023E}" srcOrd="3" destOrd="0" presId="urn:microsoft.com/office/officeart/2005/8/layout/bProcess3"/>
    <dgm:cxn modelId="{E660FA1A-6A0A-4252-80F0-219ADC9F4975}" type="presParOf" srcId="{B57882D5-6002-4E3A-B21F-E3A8FF97023E}" destId="{08F267D5-DFA8-4EC1-B714-136AB925B82D}" srcOrd="0" destOrd="0" presId="urn:microsoft.com/office/officeart/2005/8/layout/bProcess3"/>
    <dgm:cxn modelId="{6535DF3B-357F-45C2-AC66-1E9CF56988EA}" type="presParOf" srcId="{E16D9A5E-F37E-4DB3-8DFE-43A057CBA3E0}" destId="{31279DE9-3708-423A-BA93-92C72BD200F5}" srcOrd="4" destOrd="0" presId="urn:microsoft.com/office/officeart/2005/8/layout/bProcess3"/>
    <dgm:cxn modelId="{8B2CD468-6225-4D38-A44E-6B47C885C071}" type="presParOf" srcId="{E16D9A5E-F37E-4DB3-8DFE-43A057CBA3E0}" destId="{A717592F-E413-44B9-B6AF-23F2D1E50026}" srcOrd="5" destOrd="0" presId="urn:microsoft.com/office/officeart/2005/8/layout/bProcess3"/>
    <dgm:cxn modelId="{99D33C2B-DE60-4083-8715-FB61BCCB65EA}" type="presParOf" srcId="{A717592F-E413-44B9-B6AF-23F2D1E50026}" destId="{09B4D4BC-D600-4B2F-81FE-767D063EDF88}" srcOrd="0" destOrd="0" presId="urn:microsoft.com/office/officeart/2005/8/layout/bProcess3"/>
    <dgm:cxn modelId="{C775F49A-4DAB-4D3D-9F47-6807153F7E82}" type="presParOf" srcId="{E16D9A5E-F37E-4DB3-8DFE-43A057CBA3E0}" destId="{98E41D80-8538-4E6F-824B-D26272E2BEC9}" srcOrd="6" destOrd="0" presId="urn:microsoft.com/office/officeart/2005/8/layout/bProcess3"/>
    <dgm:cxn modelId="{338D25D9-B101-48B5-985B-5B137E3C27D6}" type="presParOf" srcId="{E16D9A5E-F37E-4DB3-8DFE-43A057CBA3E0}" destId="{6E92A483-1B00-4934-A975-AE36164B82C1}" srcOrd="7" destOrd="0" presId="urn:microsoft.com/office/officeart/2005/8/layout/bProcess3"/>
    <dgm:cxn modelId="{79187C1A-2953-4BBE-A2FB-C8A467F0F789}" type="presParOf" srcId="{6E92A483-1B00-4934-A975-AE36164B82C1}" destId="{0FDD5AD3-59A7-4A1D-AB7A-77977BCADCBE}" srcOrd="0" destOrd="0" presId="urn:microsoft.com/office/officeart/2005/8/layout/bProcess3"/>
    <dgm:cxn modelId="{68268D72-ADE0-4FD4-B318-68C943B67E40}" type="presParOf" srcId="{E16D9A5E-F37E-4DB3-8DFE-43A057CBA3E0}" destId="{8D85E95D-29B1-43CD-A02D-CFB4E94F0E31}" srcOrd="8"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solidFill>
                <a:srgbClr val="FFFFFF"/>
              </a:solidFill>
            </a:rPr>
            <a:t>List three types of recommendations from Automatic Tuning.</a:t>
          </a:r>
          <a:endParaRPr lang="en-US" dirty="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58B1B991-212A-410E-8681-A6D95915757E}">
      <dgm:prSet/>
      <dgm:spPr/>
      <dgm:t>
        <a:bodyPr/>
        <a:lstStyle/>
        <a:p>
          <a:r>
            <a:rPr lang="en-US" dirty="0">
              <a:solidFill>
                <a:srgbClr val="FFFFFF"/>
              </a:solidFill>
            </a:rPr>
            <a:t>What could be a reason to disable the automatic tuning option?</a:t>
          </a:r>
          <a:endParaRPr lang="en-US" dirty="0"/>
        </a:p>
      </dgm:t>
    </dgm:pt>
    <dgm:pt modelId="{08EE05D8-057C-42F7-B3DB-54849EF3F801}" type="parTrans" cxnId="{8DCF3101-190D-48D2-8E3B-9B578D82E1A5}">
      <dgm:prSet/>
      <dgm:spPr/>
      <dgm:t>
        <a:bodyPr/>
        <a:lstStyle/>
        <a:p>
          <a:endParaRPr lang="en-US"/>
        </a:p>
      </dgm:t>
    </dgm:pt>
    <dgm:pt modelId="{AD379122-9DA8-482B-A8C0-ABBC422BBC25}" type="sibTrans" cxnId="{8DCF3101-190D-48D2-8E3B-9B578D82E1A5}">
      <dgm:prSet/>
      <dgm:spPr/>
      <dgm:t>
        <a:bodyPr/>
        <a:lstStyle/>
        <a:p>
          <a:endParaRPr lang="en-US"/>
        </a:p>
      </dgm:t>
    </dgm:pt>
    <dgm:pt modelId="{0613F2A0-85ED-4B4E-8541-CA58D2357FB8}">
      <dgm:prSet/>
      <dgm:spPr/>
      <dgm:t>
        <a:bodyPr/>
        <a:lstStyle/>
        <a:p>
          <a:pPr>
            <a:buFont typeface="Arial" panose="020B0604020202020204" pitchFamily="34" charset="0"/>
            <a:buChar char="•"/>
          </a:pPr>
          <a:r>
            <a:rPr lang="en-US">
              <a:solidFill>
                <a:srgbClr val="FFFFFF"/>
              </a:solidFill>
            </a:rPr>
            <a:t>What technology is used for Automatic Tuning?</a:t>
          </a:r>
          <a:endParaRPr lang="en-US" dirty="0"/>
        </a:p>
      </dgm:t>
    </dgm:pt>
    <dgm:pt modelId="{BD06B88F-71B5-4270-920C-668611E86A44}" type="parTrans" cxnId="{E1A0BA41-5759-4D78-A6A1-FDE53B6CA932}">
      <dgm:prSet/>
      <dgm:spPr/>
      <dgm:t>
        <a:bodyPr/>
        <a:lstStyle/>
        <a:p>
          <a:endParaRPr lang="en-US"/>
        </a:p>
      </dgm:t>
    </dgm:pt>
    <dgm:pt modelId="{493A4660-1FFC-450E-9EBF-F6B7160182C9}" type="sibTrans" cxnId="{E1A0BA41-5759-4D78-A6A1-FDE53B6CA932}">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E922B38C-D007-46D8-9A79-C8E951BC8385}" type="pres">
      <dgm:prSet presAssocID="{58B1B991-212A-410E-8681-A6D95915757E}" presName="parentText" presStyleLbl="node1" presStyleIdx="1" presStyleCnt="3">
        <dgm:presLayoutVars>
          <dgm:chMax val="0"/>
          <dgm:bulletEnabled val="1"/>
        </dgm:presLayoutVars>
      </dgm:prSet>
      <dgm:spPr/>
    </dgm:pt>
    <dgm:pt modelId="{1CD71CD0-9882-49DA-8EE4-9DBC2E04465E}" type="pres">
      <dgm:prSet presAssocID="{AD379122-9DA8-482B-A8C0-ABBC422BBC25}" presName="spacer" presStyleCnt="0"/>
      <dgm:spPr/>
    </dgm:pt>
    <dgm:pt modelId="{E29C2E90-8458-435A-8D44-6886593072C8}" type="pres">
      <dgm:prSet presAssocID="{0613F2A0-85ED-4B4E-8541-CA58D2357FB8}" presName="parentText" presStyleLbl="node1" presStyleIdx="2" presStyleCnt="3">
        <dgm:presLayoutVars>
          <dgm:chMax val="0"/>
          <dgm:bulletEnabled val="1"/>
        </dgm:presLayoutVars>
      </dgm:prSet>
      <dgm:spPr/>
    </dgm:pt>
  </dgm:ptLst>
  <dgm:cxnLst>
    <dgm:cxn modelId="{8DCF3101-190D-48D2-8E3B-9B578D82E1A5}" srcId="{15A7774C-B622-4F48-8F7B-AF1AAB74E997}" destId="{58B1B991-212A-410E-8681-A6D95915757E}" srcOrd="1" destOrd="0" parTransId="{08EE05D8-057C-42F7-B3DB-54849EF3F801}" sibTransId="{AD379122-9DA8-482B-A8C0-ABBC422BBC25}"/>
    <dgm:cxn modelId="{36D7E407-3150-4513-85B0-C20EDB658460}" type="presOf" srcId="{58B1B991-212A-410E-8681-A6D95915757E}" destId="{E922B38C-D007-46D8-9A79-C8E951BC8385}" srcOrd="0" destOrd="0" presId="urn:microsoft.com/office/officeart/2005/8/layout/vList2"/>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8755DA3C-78CF-4EAA-802F-57A6EE9EDA4A}" type="presOf" srcId="{0613F2A0-85ED-4B4E-8541-CA58D2357FB8}" destId="{E29C2E90-8458-435A-8D44-6886593072C8}" srcOrd="0" destOrd="0" presId="urn:microsoft.com/office/officeart/2005/8/layout/vList2"/>
    <dgm:cxn modelId="{E1A0BA41-5759-4D78-A6A1-FDE53B6CA932}" srcId="{15A7774C-B622-4F48-8F7B-AF1AAB74E997}" destId="{0613F2A0-85ED-4B4E-8541-CA58D2357FB8}" srcOrd="2" destOrd="0" parTransId="{BD06B88F-71B5-4270-920C-668611E86A44}" sibTransId="{493A4660-1FFC-450E-9EBF-F6B7160182C9}"/>
    <dgm:cxn modelId="{4BB646B5-2A6D-439D-A88F-AC928930541F}" srcId="{15A7774C-B622-4F48-8F7B-AF1AAB74E997}" destId="{CDCA19B1-3B45-4B24-8F19-085A650701BC}" srcOrd="0" destOrd="0" parTransId="{74BFB16A-6DC3-47DD-AE97-F15F596B23DF}" sibTransId="{CAE4D9F8-FDBB-4525-9125-6BAF56328FCE}"/>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E82A84E-B3D8-4926-A1BA-5048D0113830}" type="presParOf" srcId="{97400BD5-14CE-4761-8A6A-64BC46D23158}" destId="{E922B38C-D007-46D8-9A79-C8E951BC8385}" srcOrd="2" destOrd="0" presId="urn:microsoft.com/office/officeart/2005/8/layout/vList2"/>
    <dgm:cxn modelId="{6B2C3F9F-5FFC-44F9-A7C3-7DC62464F349}" type="presParOf" srcId="{97400BD5-14CE-4761-8A6A-64BC46D23158}" destId="{1CD71CD0-9882-49DA-8EE4-9DBC2E04465E}" srcOrd="3" destOrd="0" presId="urn:microsoft.com/office/officeart/2005/8/layout/vList2"/>
    <dgm:cxn modelId="{BE0151E0-2181-4F4D-BA06-00C387FB695E}" type="presParOf" srcId="{97400BD5-14CE-4761-8A6A-64BC46D23158}" destId="{E29C2E90-8458-435A-8D44-6886593072C8}"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2C18562-32F1-4950-878B-51BB19C3785E}" type="doc">
      <dgm:prSet loTypeId="urn:microsoft.com/office/officeart/2005/8/layout/list1" loCatId="list" qsTypeId="urn:microsoft.com/office/officeart/2005/8/quickstyle/simple2" qsCatId="simple" csTypeId="urn:microsoft.com/office/officeart/2005/8/colors/accent1_2" csCatId="accent1" phldr="1"/>
      <dgm:spPr/>
      <dgm:t>
        <a:bodyPr/>
        <a:lstStyle/>
        <a:p>
          <a:endParaRPr lang="en-US"/>
        </a:p>
      </dgm:t>
    </dgm:pt>
    <dgm:pt modelId="{79F92598-7222-458E-9EE3-0B691EFB7C5C}">
      <dgm:prSet custT="1"/>
      <dgm:spPr>
        <a:xfrm>
          <a:off x="275515" y="597974"/>
          <a:ext cx="3857216" cy="472320"/>
        </a:xfrm>
      </dgm:spPr>
      <dgm:t>
        <a:bodyPr/>
        <a:lstStyle/>
        <a:p>
          <a:pPr>
            <a:buNone/>
          </a:pPr>
          <a:r>
            <a:rPr kumimoji="0" lang="nl-BE" sz="1400"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Monitoring Azure SQL Database at scale</a:t>
          </a:r>
          <a:endParaRPr kumimoji="0" lang="nl-BE" sz="14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gm:t>
    </dgm:pt>
    <dgm:pt modelId="{3E7D59F5-2BF3-4805-BA08-E5AF1A83F64E}" type="parTrans" cxnId="{F4F9BFE3-5D9A-4266-9BFF-65BAC5ABF544}">
      <dgm:prSet/>
      <dgm:spPr/>
      <dgm:t>
        <a:bodyPr/>
        <a:lstStyle/>
        <a:p>
          <a:endParaRPr lang="en-US"/>
        </a:p>
      </dgm:t>
    </dgm:pt>
    <dgm:pt modelId="{9391F2C2-C12B-4A7D-822D-BCFAD29E85F3}" type="sibTrans" cxnId="{F4F9BFE3-5D9A-4266-9BFF-65BAC5ABF544}">
      <dgm:prSet/>
      <dgm:spPr/>
      <dgm:t>
        <a:bodyPr/>
        <a:lstStyle/>
        <a:p>
          <a:endParaRPr lang="en-US"/>
        </a:p>
      </dgm:t>
    </dgm:pt>
    <dgm:pt modelId="{50534043-D76D-48EC-8E32-C40C88B00C77}">
      <dgm:prSet custT="1"/>
      <dgm:spPr>
        <a:xfrm>
          <a:off x="0" y="834134"/>
          <a:ext cx="5510309" cy="1512000"/>
        </a:xfrm>
      </dgm:spPr>
      <dgm:t>
        <a:bodyPr/>
        <a:lstStyle/>
        <a:p>
          <a:pPr>
            <a:buChar char="•"/>
          </a:pPr>
          <a:r>
            <a:rPr kumimoji="0" lang="nl-BE" sz="14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rPr>
            <a:t>Integrated with Operations Management Suite.</a:t>
          </a:r>
        </a:p>
      </dgm:t>
    </dgm:pt>
    <dgm:pt modelId="{9DA52245-55E6-4358-B15E-9B0E7F035DDE}" type="parTrans" cxnId="{8954FC23-E193-4E47-A9A3-C2A0611EE18E}">
      <dgm:prSet/>
      <dgm:spPr/>
      <dgm:t>
        <a:bodyPr/>
        <a:lstStyle/>
        <a:p>
          <a:endParaRPr lang="en-US"/>
        </a:p>
      </dgm:t>
    </dgm:pt>
    <dgm:pt modelId="{8381BF6E-19A2-4E1A-AD7E-3FBF8685FFE2}" type="sibTrans" cxnId="{8954FC23-E193-4E47-A9A3-C2A0611EE18E}">
      <dgm:prSet/>
      <dgm:spPr/>
      <dgm:t>
        <a:bodyPr/>
        <a:lstStyle/>
        <a:p>
          <a:endParaRPr lang="en-US"/>
        </a:p>
      </dgm:t>
    </dgm:pt>
    <dgm:pt modelId="{25DC9DBD-EB27-422F-ADC8-A23401DE5DEC}">
      <dgm:prSet custT="1"/>
      <dgm:spPr>
        <a:xfrm>
          <a:off x="0" y="834134"/>
          <a:ext cx="5510309" cy="1512000"/>
        </a:xfrm>
      </dgm:spPr>
      <dgm:t>
        <a:bodyPr/>
        <a:lstStyle/>
        <a:p>
          <a:pPr>
            <a:buChar char="•"/>
          </a:pPr>
          <a:r>
            <a:rPr kumimoji="0" lang="nl-BE" sz="14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rPr>
            <a:t>Monitor entire Azure SQL Database estate across multiple subscriptions.</a:t>
          </a:r>
        </a:p>
      </dgm:t>
    </dgm:pt>
    <dgm:pt modelId="{F128BF4E-2997-4162-AFA8-ADB4AAA6A444}" type="parTrans" cxnId="{7EB0C1CE-3C94-4775-9690-5DD594D81C6D}">
      <dgm:prSet/>
      <dgm:spPr/>
      <dgm:t>
        <a:bodyPr/>
        <a:lstStyle/>
        <a:p>
          <a:endParaRPr lang="en-US"/>
        </a:p>
      </dgm:t>
    </dgm:pt>
    <dgm:pt modelId="{71323E6A-4128-4857-82BB-BF563AE401B3}" type="sibTrans" cxnId="{7EB0C1CE-3C94-4775-9690-5DD594D81C6D}">
      <dgm:prSet/>
      <dgm:spPr/>
      <dgm:t>
        <a:bodyPr/>
        <a:lstStyle/>
        <a:p>
          <a:endParaRPr lang="en-US"/>
        </a:p>
      </dgm:t>
    </dgm:pt>
    <dgm:pt modelId="{60F80DAD-B952-4AD3-BF74-01D5908C1993}">
      <dgm:prSet custT="1"/>
      <dgm:spPr>
        <a:xfrm>
          <a:off x="0" y="834134"/>
          <a:ext cx="5510309" cy="1512000"/>
        </a:xfrm>
      </dgm:spPr>
      <dgm:t>
        <a:bodyPr/>
        <a:lstStyle/>
        <a:p>
          <a:pPr>
            <a:buChar char="•"/>
          </a:pPr>
          <a:r>
            <a:rPr kumimoji="0" lang="nl-BE" sz="1400"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Provides a view into raw telemetry.</a:t>
          </a:r>
          <a:endParaRPr kumimoji="0" lang="nl-BE" sz="14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gm:t>
    </dgm:pt>
    <dgm:pt modelId="{19298447-5651-473C-B700-E5733AAB1115}" type="parTrans" cxnId="{D943B7C8-F2C6-4333-8A72-5C8929E6358D}">
      <dgm:prSet/>
      <dgm:spPr/>
      <dgm:t>
        <a:bodyPr/>
        <a:lstStyle/>
        <a:p>
          <a:endParaRPr lang="en-US"/>
        </a:p>
      </dgm:t>
    </dgm:pt>
    <dgm:pt modelId="{B1A12E63-9987-4D9A-911E-AF46A86F7694}" type="sibTrans" cxnId="{D943B7C8-F2C6-4333-8A72-5C8929E6358D}">
      <dgm:prSet/>
      <dgm:spPr/>
      <dgm:t>
        <a:bodyPr/>
        <a:lstStyle/>
        <a:p>
          <a:endParaRPr lang="en-US"/>
        </a:p>
      </dgm:t>
    </dgm:pt>
    <dgm:pt modelId="{12EA49A5-F555-44F8-81CB-45A09E4B5217}">
      <dgm:prSet custT="1"/>
      <dgm:spPr>
        <a:xfrm>
          <a:off x="275515" y="2432534"/>
          <a:ext cx="3857216" cy="472320"/>
        </a:xfrm>
      </dgm:spPr>
      <dgm:t>
        <a:bodyPr/>
        <a:lstStyle/>
        <a:p>
          <a:pPr>
            <a:buNone/>
          </a:pPr>
          <a:r>
            <a:rPr kumimoji="0" lang="nl-BE" sz="1400"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Monitored activities </a:t>
          </a:r>
          <a:endParaRPr kumimoji="0" lang="nl-BE" sz="14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gm:t>
    </dgm:pt>
    <dgm:pt modelId="{04249F7C-2901-45A2-8C56-C0D7EB3B79AD}" type="parTrans" cxnId="{62348ECC-5938-46B9-BAF7-3A1205FAEAB4}">
      <dgm:prSet/>
      <dgm:spPr/>
      <dgm:t>
        <a:bodyPr/>
        <a:lstStyle/>
        <a:p>
          <a:endParaRPr lang="en-US"/>
        </a:p>
      </dgm:t>
    </dgm:pt>
    <dgm:pt modelId="{0D466B48-A3BE-4411-AE3E-F4B54F0E80F2}" type="sibTrans" cxnId="{62348ECC-5938-46B9-BAF7-3A1205FAEAB4}">
      <dgm:prSet/>
      <dgm:spPr/>
      <dgm:t>
        <a:bodyPr/>
        <a:lstStyle/>
        <a:p>
          <a:endParaRPr lang="en-US"/>
        </a:p>
      </dgm:t>
    </dgm:pt>
    <dgm:pt modelId="{4CB1AA28-A29B-41D8-814A-1D3F83B3E5A2}">
      <dgm:prSet custT="1"/>
      <dgm:spPr>
        <a:xfrm>
          <a:off x="0" y="2668694"/>
          <a:ext cx="5510309" cy="2116800"/>
        </a:xfrm>
      </dgm:spPr>
      <dgm:t>
        <a:bodyPr/>
        <a:lstStyle/>
        <a:p>
          <a:pPr>
            <a:buChar char="•"/>
          </a:pPr>
          <a:r>
            <a:rPr kumimoji="0" lang="nl-BE" sz="1400"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Resource usage</a:t>
          </a:r>
          <a:endParaRPr kumimoji="0" lang="nl-BE" sz="14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gm:t>
    </dgm:pt>
    <dgm:pt modelId="{D46614BE-A635-457A-9D16-F25E76D3C4AC}" type="parTrans" cxnId="{0142C323-8B89-4794-870E-3BA768CD0D8D}">
      <dgm:prSet/>
      <dgm:spPr/>
      <dgm:t>
        <a:bodyPr/>
        <a:lstStyle/>
        <a:p>
          <a:endParaRPr lang="en-US"/>
        </a:p>
      </dgm:t>
    </dgm:pt>
    <dgm:pt modelId="{DBDB11C0-E708-4DD8-B410-3B8B58EE9605}" type="sibTrans" cxnId="{0142C323-8B89-4794-870E-3BA768CD0D8D}">
      <dgm:prSet/>
      <dgm:spPr/>
      <dgm:t>
        <a:bodyPr/>
        <a:lstStyle/>
        <a:p>
          <a:endParaRPr lang="en-US"/>
        </a:p>
      </dgm:t>
    </dgm:pt>
    <dgm:pt modelId="{7769AF3F-64D8-4E13-AA3E-52A882D68BE2}">
      <dgm:prSet custT="1"/>
      <dgm:spPr>
        <a:xfrm>
          <a:off x="0" y="2668694"/>
          <a:ext cx="5510309" cy="2116800"/>
        </a:xfrm>
      </dgm:spPr>
      <dgm:t>
        <a:bodyPr/>
        <a:lstStyle/>
        <a:p>
          <a:pPr>
            <a:buChar char="•"/>
          </a:pPr>
          <a:r>
            <a:rPr kumimoji="0" lang="nl-BE" sz="1400"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Query performance </a:t>
          </a:r>
          <a:endParaRPr kumimoji="0" lang="nl-BE" sz="14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gm:t>
    </dgm:pt>
    <dgm:pt modelId="{4B432050-95FE-4D62-BEB4-7C7EFC7F60F1}" type="parTrans" cxnId="{E10FD7EB-D964-4E26-943D-BD255D166B93}">
      <dgm:prSet/>
      <dgm:spPr/>
      <dgm:t>
        <a:bodyPr/>
        <a:lstStyle/>
        <a:p>
          <a:endParaRPr lang="en-US"/>
        </a:p>
      </dgm:t>
    </dgm:pt>
    <dgm:pt modelId="{6C91902B-C7B9-4814-80BD-566783DEF452}" type="sibTrans" cxnId="{E10FD7EB-D964-4E26-943D-BD255D166B93}">
      <dgm:prSet/>
      <dgm:spPr/>
      <dgm:t>
        <a:bodyPr/>
        <a:lstStyle/>
        <a:p>
          <a:endParaRPr lang="en-US"/>
        </a:p>
      </dgm:t>
    </dgm:pt>
    <dgm:pt modelId="{1A62D2B8-98F5-4601-A23C-A3975A90FC4B}">
      <dgm:prSet custT="1"/>
      <dgm:spPr>
        <a:xfrm>
          <a:off x="0" y="2668694"/>
          <a:ext cx="5510309" cy="2116800"/>
        </a:xfrm>
      </dgm:spPr>
      <dgm:t>
        <a:bodyPr/>
        <a:lstStyle/>
        <a:p>
          <a:pPr>
            <a:buChar char="•"/>
          </a:pPr>
          <a:r>
            <a:rPr kumimoji="0" lang="nl-BE" sz="1400"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SQL errors</a:t>
          </a:r>
          <a:endParaRPr kumimoji="0" lang="nl-BE" sz="14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gm:t>
    </dgm:pt>
    <dgm:pt modelId="{CE72F95B-091F-44B0-8125-1853E2762A13}" type="parTrans" cxnId="{3AA4247E-6C47-4C73-B1F6-666CAE11C0CF}">
      <dgm:prSet/>
      <dgm:spPr/>
      <dgm:t>
        <a:bodyPr/>
        <a:lstStyle/>
        <a:p>
          <a:endParaRPr lang="en-US"/>
        </a:p>
      </dgm:t>
    </dgm:pt>
    <dgm:pt modelId="{44772B06-448B-4F7F-AAAB-71968219217C}" type="sibTrans" cxnId="{3AA4247E-6C47-4C73-B1F6-666CAE11C0CF}">
      <dgm:prSet/>
      <dgm:spPr/>
      <dgm:t>
        <a:bodyPr/>
        <a:lstStyle/>
        <a:p>
          <a:endParaRPr lang="en-US"/>
        </a:p>
      </dgm:t>
    </dgm:pt>
    <dgm:pt modelId="{35220DDD-AEAF-4120-A1AA-093F16D41760}">
      <dgm:prSet custT="1"/>
      <dgm:spPr>
        <a:xfrm>
          <a:off x="0" y="2668694"/>
          <a:ext cx="5510309" cy="2116800"/>
        </a:xfrm>
      </dgm:spPr>
      <dgm:t>
        <a:bodyPr/>
        <a:lstStyle/>
        <a:p>
          <a:pPr>
            <a:buChar char="•"/>
          </a:pPr>
          <a:r>
            <a:rPr kumimoji="0" lang="nl-BE" sz="1400"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Timeouts</a:t>
          </a:r>
          <a:endParaRPr kumimoji="0" lang="nl-BE" sz="14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gm:t>
    </dgm:pt>
    <dgm:pt modelId="{CACCE2F5-DBA3-499A-9BED-8CCF6C6B909E}" type="parTrans" cxnId="{5222F717-AC75-499F-B154-6444B3B5E0E3}">
      <dgm:prSet/>
      <dgm:spPr/>
      <dgm:t>
        <a:bodyPr/>
        <a:lstStyle/>
        <a:p>
          <a:endParaRPr lang="en-US"/>
        </a:p>
      </dgm:t>
    </dgm:pt>
    <dgm:pt modelId="{81B93B5C-F5D0-4A45-8E85-B6E68D3FA137}" type="sibTrans" cxnId="{5222F717-AC75-499F-B154-6444B3B5E0E3}">
      <dgm:prSet/>
      <dgm:spPr/>
      <dgm:t>
        <a:bodyPr/>
        <a:lstStyle/>
        <a:p>
          <a:endParaRPr lang="en-US"/>
        </a:p>
      </dgm:t>
    </dgm:pt>
    <dgm:pt modelId="{A0539D29-264D-4D87-9725-5110170A8D8F}">
      <dgm:prSet custT="1"/>
      <dgm:spPr>
        <a:xfrm>
          <a:off x="0" y="2668694"/>
          <a:ext cx="5510309" cy="2116800"/>
        </a:xfrm>
      </dgm:spPr>
      <dgm:t>
        <a:bodyPr/>
        <a:lstStyle/>
        <a:p>
          <a:pPr>
            <a:buChar char="•"/>
          </a:pPr>
          <a:r>
            <a:rPr kumimoji="0" lang="nl-BE" sz="1400"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Blocking </a:t>
          </a:r>
          <a:endParaRPr kumimoji="0" lang="nl-BE" sz="14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gm:t>
    </dgm:pt>
    <dgm:pt modelId="{509D5BB1-21CC-417C-9712-9CB80CF2B7D8}" type="parTrans" cxnId="{313047A1-3D3F-4034-B2BD-4F2E7EA83068}">
      <dgm:prSet/>
      <dgm:spPr/>
      <dgm:t>
        <a:bodyPr/>
        <a:lstStyle/>
        <a:p>
          <a:endParaRPr lang="en-US"/>
        </a:p>
      </dgm:t>
    </dgm:pt>
    <dgm:pt modelId="{21DCE6B0-9A5F-4565-A949-2036377D9B27}" type="sibTrans" cxnId="{313047A1-3D3F-4034-B2BD-4F2E7EA83068}">
      <dgm:prSet/>
      <dgm:spPr/>
      <dgm:t>
        <a:bodyPr/>
        <a:lstStyle/>
        <a:p>
          <a:endParaRPr lang="en-US"/>
        </a:p>
      </dgm:t>
    </dgm:pt>
    <dgm:pt modelId="{0CCE3D83-3D6B-479C-A4E2-3EBC222C1409}">
      <dgm:prSet custT="1"/>
      <dgm:spPr>
        <a:xfrm>
          <a:off x="0" y="2668694"/>
          <a:ext cx="5510309" cy="2116800"/>
        </a:xfrm>
      </dgm:spPr>
      <dgm:t>
        <a:bodyPr/>
        <a:lstStyle/>
        <a:p>
          <a:pPr>
            <a:buChar char="•"/>
          </a:pPr>
          <a:r>
            <a:rPr kumimoji="0" lang="nl-BE" sz="1400"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Intelligent insights</a:t>
          </a:r>
          <a:endParaRPr kumimoji="0" lang="nl-BE" sz="14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gm:t>
    </dgm:pt>
    <dgm:pt modelId="{16D08CB8-FC04-43CE-86CB-2D936BB76BD5}" type="parTrans" cxnId="{E4D7B991-0D3C-432C-A12A-5D99D4610B7C}">
      <dgm:prSet/>
      <dgm:spPr/>
      <dgm:t>
        <a:bodyPr/>
        <a:lstStyle/>
        <a:p>
          <a:endParaRPr lang="en-US"/>
        </a:p>
      </dgm:t>
    </dgm:pt>
    <dgm:pt modelId="{6C21341E-CB58-4D8A-8941-E6441885D567}" type="sibTrans" cxnId="{E4D7B991-0D3C-432C-A12A-5D99D4610B7C}">
      <dgm:prSet/>
      <dgm:spPr/>
      <dgm:t>
        <a:bodyPr/>
        <a:lstStyle/>
        <a:p>
          <a:endParaRPr lang="en-US"/>
        </a:p>
      </dgm:t>
    </dgm:pt>
    <dgm:pt modelId="{12102936-4C25-4127-B12A-18E210304175}" type="pres">
      <dgm:prSet presAssocID="{52C18562-32F1-4950-878B-51BB19C3785E}" presName="linear" presStyleCnt="0">
        <dgm:presLayoutVars>
          <dgm:dir/>
          <dgm:animLvl val="lvl"/>
          <dgm:resizeHandles val="exact"/>
        </dgm:presLayoutVars>
      </dgm:prSet>
      <dgm:spPr/>
    </dgm:pt>
    <dgm:pt modelId="{A9B2F6C4-71EF-4FBF-961C-71FCFBF488BB}" type="pres">
      <dgm:prSet presAssocID="{79F92598-7222-458E-9EE3-0B691EFB7C5C}" presName="parentLin" presStyleCnt="0"/>
      <dgm:spPr/>
    </dgm:pt>
    <dgm:pt modelId="{C4F40A49-2545-49EC-B67A-10B7D1C6669B}" type="pres">
      <dgm:prSet presAssocID="{79F92598-7222-458E-9EE3-0B691EFB7C5C}" presName="parentLeftMargin" presStyleLbl="node1" presStyleIdx="0" presStyleCnt="2"/>
      <dgm:spPr/>
    </dgm:pt>
    <dgm:pt modelId="{3A950B58-1837-4B55-8AA2-5F0B2267F306}" type="pres">
      <dgm:prSet presAssocID="{79F92598-7222-458E-9EE3-0B691EFB7C5C}" presName="parentText" presStyleLbl="node1" presStyleIdx="0" presStyleCnt="2">
        <dgm:presLayoutVars>
          <dgm:chMax val="0"/>
          <dgm:bulletEnabled val="1"/>
        </dgm:presLayoutVars>
      </dgm:prSet>
      <dgm:spPr/>
    </dgm:pt>
    <dgm:pt modelId="{A231D31D-98D4-4D86-B7C0-459456043ED1}" type="pres">
      <dgm:prSet presAssocID="{79F92598-7222-458E-9EE3-0B691EFB7C5C}" presName="negativeSpace" presStyleCnt="0"/>
      <dgm:spPr/>
    </dgm:pt>
    <dgm:pt modelId="{B376C60B-0FA7-414A-88E3-48BD129A75A1}" type="pres">
      <dgm:prSet presAssocID="{79F92598-7222-458E-9EE3-0B691EFB7C5C}" presName="childText" presStyleLbl="conFgAcc1" presStyleIdx="0" presStyleCnt="2">
        <dgm:presLayoutVars>
          <dgm:bulletEnabled val="1"/>
        </dgm:presLayoutVars>
      </dgm:prSet>
      <dgm:spPr/>
    </dgm:pt>
    <dgm:pt modelId="{21E827DC-9236-42FA-A07B-0F9EBE7D2AA3}" type="pres">
      <dgm:prSet presAssocID="{9391F2C2-C12B-4A7D-822D-BCFAD29E85F3}" presName="spaceBetweenRectangles" presStyleCnt="0"/>
      <dgm:spPr/>
    </dgm:pt>
    <dgm:pt modelId="{7B011388-25ED-4580-831F-BB8C5B93BB22}" type="pres">
      <dgm:prSet presAssocID="{12EA49A5-F555-44F8-81CB-45A09E4B5217}" presName="parentLin" presStyleCnt="0"/>
      <dgm:spPr/>
    </dgm:pt>
    <dgm:pt modelId="{0B54FB27-AF18-4EC1-A4FF-7A0FAA1D6B24}" type="pres">
      <dgm:prSet presAssocID="{12EA49A5-F555-44F8-81CB-45A09E4B5217}" presName="parentLeftMargin" presStyleLbl="node1" presStyleIdx="0" presStyleCnt="2"/>
      <dgm:spPr/>
    </dgm:pt>
    <dgm:pt modelId="{C9F478F7-68D0-4486-97DD-43DDFD8CF3FD}" type="pres">
      <dgm:prSet presAssocID="{12EA49A5-F555-44F8-81CB-45A09E4B5217}" presName="parentText" presStyleLbl="node1" presStyleIdx="1" presStyleCnt="2">
        <dgm:presLayoutVars>
          <dgm:chMax val="0"/>
          <dgm:bulletEnabled val="1"/>
        </dgm:presLayoutVars>
      </dgm:prSet>
      <dgm:spPr/>
    </dgm:pt>
    <dgm:pt modelId="{30110726-AD24-41F4-BCF9-740FA552E588}" type="pres">
      <dgm:prSet presAssocID="{12EA49A5-F555-44F8-81CB-45A09E4B5217}" presName="negativeSpace" presStyleCnt="0"/>
      <dgm:spPr/>
    </dgm:pt>
    <dgm:pt modelId="{0249DD3D-A182-44D7-BA17-46CD56D2D05A}" type="pres">
      <dgm:prSet presAssocID="{12EA49A5-F555-44F8-81CB-45A09E4B5217}" presName="childText" presStyleLbl="conFgAcc1" presStyleIdx="1" presStyleCnt="2" custScaleY="145426">
        <dgm:presLayoutVars>
          <dgm:bulletEnabled val="1"/>
        </dgm:presLayoutVars>
      </dgm:prSet>
      <dgm:spPr/>
    </dgm:pt>
  </dgm:ptLst>
  <dgm:cxnLst>
    <dgm:cxn modelId="{0C8F2403-774F-4C3B-BC9E-FCEB67122D3E}" type="presOf" srcId="{25DC9DBD-EB27-422F-ADC8-A23401DE5DEC}" destId="{B376C60B-0FA7-414A-88E3-48BD129A75A1}" srcOrd="0" destOrd="1" presId="urn:microsoft.com/office/officeart/2005/8/layout/list1"/>
    <dgm:cxn modelId="{366DC205-B1CC-4792-87C1-DDA6927C3A9D}" type="presOf" srcId="{79F92598-7222-458E-9EE3-0B691EFB7C5C}" destId="{C4F40A49-2545-49EC-B67A-10B7D1C6669B}" srcOrd="0" destOrd="0" presId="urn:microsoft.com/office/officeart/2005/8/layout/list1"/>
    <dgm:cxn modelId="{7F071606-664E-43FF-8742-02F488CFB1FE}" type="presOf" srcId="{12EA49A5-F555-44F8-81CB-45A09E4B5217}" destId="{0B54FB27-AF18-4EC1-A4FF-7A0FAA1D6B24}" srcOrd="0" destOrd="0" presId="urn:microsoft.com/office/officeart/2005/8/layout/list1"/>
    <dgm:cxn modelId="{5222F717-AC75-499F-B154-6444B3B5E0E3}" srcId="{12EA49A5-F555-44F8-81CB-45A09E4B5217}" destId="{35220DDD-AEAF-4120-A1AA-093F16D41760}" srcOrd="3" destOrd="0" parTransId="{CACCE2F5-DBA3-499A-9BED-8CCF6C6B909E}" sibTransId="{81B93B5C-F5D0-4A45-8E85-B6E68D3FA137}"/>
    <dgm:cxn modelId="{0142C323-8B89-4794-870E-3BA768CD0D8D}" srcId="{12EA49A5-F555-44F8-81CB-45A09E4B5217}" destId="{4CB1AA28-A29B-41D8-814A-1D3F83B3E5A2}" srcOrd="0" destOrd="0" parTransId="{D46614BE-A635-457A-9D16-F25E76D3C4AC}" sibTransId="{DBDB11C0-E708-4DD8-B410-3B8B58EE9605}"/>
    <dgm:cxn modelId="{8954FC23-E193-4E47-A9A3-C2A0611EE18E}" srcId="{79F92598-7222-458E-9EE3-0B691EFB7C5C}" destId="{50534043-D76D-48EC-8E32-C40C88B00C77}" srcOrd="0" destOrd="0" parTransId="{9DA52245-55E6-4358-B15E-9B0E7F035DDE}" sibTransId="{8381BF6E-19A2-4E1A-AD7E-3FBF8685FFE2}"/>
    <dgm:cxn modelId="{9B0E6224-9C97-4AD7-A930-F4135C2201F4}" type="presOf" srcId="{0CCE3D83-3D6B-479C-A4E2-3EBC222C1409}" destId="{0249DD3D-A182-44D7-BA17-46CD56D2D05A}" srcOrd="0" destOrd="5" presId="urn:microsoft.com/office/officeart/2005/8/layout/list1"/>
    <dgm:cxn modelId="{424DD740-1E2E-4131-AAF8-9ACBE4541E27}" type="presOf" srcId="{7769AF3F-64D8-4E13-AA3E-52A882D68BE2}" destId="{0249DD3D-A182-44D7-BA17-46CD56D2D05A}" srcOrd="0" destOrd="1" presId="urn:microsoft.com/office/officeart/2005/8/layout/list1"/>
    <dgm:cxn modelId="{055E5B72-B847-4320-8196-56F2B706BB5D}" type="presOf" srcId="{4CB1AA28-A29B-41D8-814A-1D3F83B3E5A2}" destId="{0249DD3D-A182-44D7-BA17-46CD56D2D05A}" srcOrd="0" destOrd="0" presId="urn:microsoft.com/office/officeart/2005/8/layout/list1"/>
    <dgm:cxn modelId="{3AA4247E-6C47-4C73-B1F6-666CAE11C0CF}" srcId="{12EA49A5-F555-44F8-81CB-45A09E4B5217}" destId="{1A62D2B8-98F5-4601-A23C-A3975A90FC4B}" srcOrd="2" destOrd="0" parTransId="{CE72F95B-091F-44B0-8125-1853E2762A13}" sibTransId="{44772B06-448B-4F7F-AAAB-71968219217C}"/>
    <dgm:cxn modelId="{FA72237F-7768-4D0E-93EA-6F0E2594BF6A}" type="presOf" srcId="{1A62D2B8-98F5-4601-A23C-A3975A90FC4B}" destId="{0249DD3D-A182-44D7-BA17-46CD56D2D05A}" srcOrd="0" destOrd="2" presId="urn:microsoft.com/office/officeart/2005/8/layout/list1"/>
    <dgm:cxn modelId="{E4D7B991-0D3C-432C-A12A-5D99D4610B7C}" srcId="{12EA49A5-F555-44F8-81CB-45A09E4B5217}" destId="{0CCE3D83-3D6B-479C-A4E2-3EBC222C1409}" srcOrd="5" destOrd="0" parTransId="{16D08CB8-FC04-43CE-86CB-2D936BB76BD5}" sibTransId="{6C21341E-CB58-4D8A-8941-E6441885D567}"/>
    <dgm:cxn modelId="{FCB87D98-4A48-4FC0-B8BF-AB0D029F5F83}" type="presOf" srcId="{50534043-D76D-48EC-8E32-C40C88B00C77}" destId="{B376C60B-0FA7-414A-88E3-48BD129A75A1}" srcOrd="0" destOrd="0" presId="urn:microsoft.com/office/officeart/2005/8/layout/list1"/>
    <dgm:cxn modelId="{2770549B-AD56-41D7-95AD-BFDE82B02FE6}" type="presOf" srcId="{12EA49A5-F555-44F8-81CB-45A09E4B5217}" destId="{C9F478F7-68D0-4486-97DD-43DDFD8CF3FD}" srcOrd="1" destOrd="0" presId="urn:microsoft.com/office/officeart/2005/8/layout/list1"/>
    <dgm:cxn modelId="{32261C9F-A0EB-4D8D-A22C-967E564AD78A}" type="presOf" srcId="{A0539D29-264D-4D87-9725-5110170A8D8F}" destId="{0249DD3D-A182-44D7-BA17-46CD56D2D05A}" srcOrd="0" destOrd="4" presId="urn:microsoft.com/office/officeart/2005/8/layout/list1"/>
    <dgm:cxn modelId="{313047A1-3D3F-4034-B2BD-4F2E7EA83068}" srcId="{12EA49A5-F555-44F8-81CB-45A09E4B5217}" destId="{A0539D29-264D-4D87-9725-5110170A8D8F}" srcOrd="4" destOrd="0" parTransId="{509D5BB1-21CC-417C-9712-9CB80CF2B7D8}" sibTransId="{21DCE6B0-9A5F-4565-A949-2036377D9B27}"/>
    <dgm:cxn modelId="{17AD0CC6-293C-442C-878F-91F66D77FE4D}" type="presOf" srcId="{52C18562-32F1-4950-878B-51BB19C3785E}" destId="{12102936-4C25-4127-B12A-18E210304175}" srcOrd="0" destOrd="0" presId="urn:microsoft.com/office/officeart/2005/8/layout/list1"/>
    <dgm:cxn modelId="{D943B7C8-F2C6-4333-8A72-5C8929E6358D}" srcId="{79F92598-7222-458E-9EE3-0B691EFB7C5C}" destId="{60F80DAD-B952-4AD3-BF74-01D5908C1993}" srcOrd="2" destOrd="0" parTransId="{19298447-5651-473C-B700-E5733AAB1115}" sibTransId="{B1A12E63-9987-4D9A-911E-AF46A86F7694}"/>
    <dgm:cxn modelId="{62348ECC-5938-46B9-BAF7-3A1205FAEAB4}" srcId="{52C18562-32F1-4950-878B-51BB19C3785E}" destId="{12EA49A5-F555-44F8-81CB-45A09E4B5217}" srcOrd="1" destOrd="0" parTransId="{04249F7C-2901-45A2-8C56-C0D7EB3B79AD}" sibTransId="{0D466B48-A3BE-4411-AE3E-F4B54F0E80F2}"/>
    <dgm:cxn modelId="{7EB0C1CE-3C94-4775-9690-5DD594D81C6D}" srcId="{79F92598-7222-458E-9EE3-0B691EFB7C5C}" destId="{25DC9DBD-EB27-422F-ADC8-A23401DE5DEC}" srcOrd="1" destOrd="0" parTransId="{F128BF4E-2997-4162-AFA8-ADB4AAA6A444}" sibTransId="{71323E6A-4128-4857-82BB-BF563AE401B3}"/>
    <dgm:cxn modelId="{F4F9BFE3-5D9A-4266-9BFF-65BAC5ABF544}" srcId="{52C18562-32F1-4950-878B-51BB19C3785E}" destId="{79F92598-7222-458E-9EE3-0B691EFB7C5C}" srcOrd="0" destOrd="0" parTransId="{3E7D59F5-2BF3-4805-BA08-E5AF1A83F64E}" sibTransId="{9391F2C2-C12B-4A7D-822D-BCFAD29E85F3}"/>
    <dgm:cxn modelId="{E5D0BEE6-3E67-4E24-B49A-984D343BFFAB}" type="presOf" srcId="{35220DDD-AEAF-4120-A1AA-093F16D41760}" destId="{0249DD3D-A182-44D7-BA17-46CD56D2D05A}" srcOrd="0" destOrd="3" presId="urn:microsoft.com/office/officeart/2005/8/layout/list1"/>
    <dgm:cxn modelId="{E75E49EB-418D-4BA2-8344-A6E4D380F6EB}" type="presOf" srcId="{79F92598-7222-458E-9EE3-0B691EFB7C5C}" destId="{3A950B58-1837-4B55-8AA2-5F0B2267F306}" srcOrd="1" destOrd="0" presId="urn:microsoft.com/office/officeart/2005/8/layout/list1"/>
    <dgm:cxn modelId="{E10FD7EB-D964-4E26-943D-BD255D166B93}" srcId="{12EA49A5-F555-44F8-81CB-45A09E4B5217}" destId="{7769AF3F-64D8-4E13-AA3E-52A882D68BE2}" srcOrd="1" destOrd="0" parTransId="{4B432050-95FE-4D62-BEB4-7C7EFC7F60F1}" sibTransId="{6C91902B-C7B9-4814-80BD-566783DEF452}"/>
    <dgm:cxn modelId="{EC5164ED-C9ED-4C1E-8BD8-738F62183659}" type="presOf" srcId="{60F80DAD-B952-4AD3-BF74-01D5908C1993}" destId="{B376C60B-0FA7-414A-88E3-48BD129A75A1}" srcOrd="0" destOrd="2" presId="urn:microsoft.com/office/officeart/2005/8/layout/list1"/>
    <dgm:cxn modelId="{0E166205-2CC7-48D4-A12E-CDF24D62C651}" type="presParOf" srcId="{12102936-4C25-4127-B12A-18E210304175}" destId="{A9B2F6C4-71EF-4FBF-961C-71FCFBF488BB}" srcOrd="0" destOrd="0" presId="urn:microsoft.com/office/officeart/2005/8/layout/list1"/>
    <dgm:cxn modelId="{8E74E960-8654-4321-A399-8ED0A170B30C}" type="presParOf" srcId="{A9B2F6C4-71EF-4FBF-961C-71FCFBF488BB}" destId="{C4F40A49-2545-49EC-B67A-10B7D1C6669B}" srcOrd="0" destOrd="0" presId="urn:microsoft.com/office/officeart/2005/8/layout/list1"/>
    <dgm:cxn modelId="{1F94E63E-0204-4EBC-8E57-A56707B27354}" type="presParOf" srcId="{A9B2F6C4-71EF-4FBF-961C-71FCFBF488BB}" destId="{3A950B58-1837-4B55-8AA2-5F0B2267F306}" srcOrd="1" destOrd="0" presId="urn:microsoft.com/office/officeart/2005/8/layout/list1"/>
    <dgm:cxn modelId="{5DD9E076-B3BD-4291-8901-66A7A3F24159}" type="presParOf" srcId="{12102936-4C25-4127-B12A-18E210304175}" destId="{A231D31D-98D4-4D86-B7C0-459456043ED1}" srcOrd="1" destOrd="0" presId="urn:microsoft.com/office/officeart/2005/8/layout/list1"/>
    <dgm:cxn modelId="{0EB4FC98-949A-4688-9302-7CE855645C85}" type="presParOf" srcId="{12102936-4C25-4127-B12A-18E210304175}" destId="{B376C60B-0FA7-414A-88E3-48BD129A75A1}" srcOrd="2" destOrd="0" presId="urn:microsoft.com/office/officeart/2005/8/layout/list1"/>
    <dgm:cxn modelId="{87BDBD36-8E30-448D-83F5-F33FF539E2B8}" type="presParOf" srcId="{12102936-4C25-4127-B12A-18E210304175}" destId="{21E827DC-9236-42FA-A07B-0F9EBE7D2AA3}" srcOrd="3" destOrd="0" presId="urn:microsoft.com/office/officeart/2005/8/layout/list1"/>
    <dgm:cxn modelId="{F100EEB0-18E4-4517-971C-A7845F7D4831}" type="presParOf" srcId="{12102936-4C25-4127-B12A-18E210304175}" destId="{7B011388-25ED-4580-831F-BB8C5B93BB22}" srcOrd="4" destOrd="0" presId="urn:microsoft.com/office/officeart/2005/8/layout/list1"/>
    <dgm:cxn modelId="{E392766C-1C0E-4ED5-9590-0A7A1D05A654}" type="presParOf" srcId="{7B011388-25ED-4580-831F-BB8C5B93BB22}" destId="{0B54FB27-AF18-4EC1-A4FF-7A0FAA1D6B24}" srcOrd="0" destOrd="0" presId="urn:microsoft.com/office/officeart/2005/8/layout/list1"/>
    <dgm:cxn modelId="{444CB408-B571-405F-BEE7-0657849E06A6}" type="presParOf" srcId="{7B011388-25ED-4580-831F-BB8C5B93BB22}" destId="{C9F478F7-68D0-4486-97DD-43DDFD8CF3FD}" srcOrd="1" destOrd="0" presId="urn:microsoft.com/office/officeart/2005/8/layout/list1"/>
    <dgm:cxn modelId="{50538A05-6B21-4DB8-BA0B-8C1063E4C179}" type="presParOf" srcId="{12102936-4C25-4127-B12A-18E210304175}" destId="{30110726-AD24-41F4-BCF9-740FA552E588}" srcOrd="5" destOrd="0" presId="urn:microsoft.com/office/officeart/2005/8/layout/list1"/>
    <dgm:cxn modelId="{B54A0811-3951-4412-87C0-C7EDC6536DC5}" type="presParOf" srcId="{12102936-4C25-4127-B12A-18E210304175}" destId="{0249DD3D-A182-44D7-BA17-46CD56D2D05A}" srcOrd="6"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9B8436AD-13CD-4586-A572-DFF5B0AB9780}" type="doc">
      <dgm:prSet loTypeId="urn:microsoft.com/office/officeart/2008/layout/LinedList" loCatId="list" qsTypeId="urn:microsoft.com/office/officeart/2005/8/quickstyle/simple1" qsCatId="simple" csTypeId="urn:microsoft.com/office/officeart/2005/8/colors/accent0_3" csCatId="mainScheme"/>
      <dgm:spPr/>
      <dgm:t>
        <a:bodyPr/>
        <a:lstStyle/>
        <a:p>
          <a:endParaRPr lang="en-US"/>
        </a:p>
      </dgm:t>
    </dgm:pt>
    <dgm:pt modelId="{1A592100-4CA5-4CFA-9EFD-49BFACE434C4}">
      <dgm:prSet/>
      <dgm:spPr/>
      <dgm:t>
        <a:bodyPr/>
        <a:lstStyle/>
        <a:p>
          <a:r>
            <a:rPr lang="en-US" baseline="0"/>
            <a:t>Intelligent Insights analyzes SQL Database performance by comparing the database workload from the last hour with the past seven-day baseline workload. </a:t>
          </a:r>
          <a:endParaRPr lang="en-US"/>
        </a:p>
      </dgm:t>
    </dgm:pt>
    <dgm:pt modelId="{A7C8097D-E151-4B67-829C-59B1FCCE2901}" type="parTrans" cxnId="{265A1EC4-CEF0-4CAE-AC31-BF1B44905B85}">
      <dgm:prSet/>
      <dgm:spPr/>
      <dgm:t>
        <a:bodyPr/>
        <a:lstStyle/>
        <a:p>
          <a:endParaRPr lang="en-US"/>
        </a:p>
      </dgm:t>
    </dgm:pt>
    <dgm:pt modelId="{A8F8A884-7BB5-4A7F-A4AE-732519A34AF1}" type="sibTrans" cxnId="{265A1EC4-CEF0-4CAE-AC31-BF1B44905B85}">
      <dgm:prSet/>
      <dgm:spPr/>
      <dgm:t>
        <a:bodyPr/>
        <a:lstStyle/>
        <a:p>
          <a:endParaRPr lang="en-US"/>
        </a:p>
      </dgm:t>
    </dgm:pt>
    <dgm:pt modelId="{3C6EDC06-7413-45B0-905D-4C294C36AC3D}">
      <dgm:prSet/>
      <dgm:spPr/>
      <dgm:t>
        <a:bodyPr/>
        <a:lstStyle/>
        <a:p>
          <a:r>
            <a:rPr lang="en-US" baseline="0"/>
            <a:t>After a performance degradation issue is detected from multiple observed metrics by using artificial intelligence, analysis is performed. </a:t>
          </a:r>
          <a:endParaRPr lang="en-US"/>
        </a:p>
      </dgm:t>
    </dgm:pt>
    <dgm:pt modelId="{2692B117-F7E2-49D3-B1B9-66C2E57B968A}" type="parTrans" cxnId="{7C9489EF-53F4-42A6-9E73-DCE19B5C3EBE}">
      <dgm:prSet/>
      <dgm:spPr/>
      <dgm:t>
        <a:bodyPr/>
        <a:lstStyle/>
        <a:p>
          <a:endParaRPr lang="en-US"/>
        </a:p>
      </dgm:t>
    </dgm:pt>
    <dgm:pt modelId="{1174D89F-2239-4997-A848-A4810A1CA06A}" type="sibTrans" cxnId="{7C9489EF-53F4-42A6-9E73-DCE19B5C3EBE}">
      <dgm:prSet/>
      <dgm:spPr/>
      <dgm:t>
        <a:bodyPr/>
        <a:lstStyle/>
        <a:p>
          <a:endParaRPr lang="en-US"/>
        </a:p>
      </dgm:t>
    </dgm:pt>
    <dgm:pt modelId="{41DEF835-8E68-44E1-811E-34446B287ADD}">
      <dgm:prSet/>
      <dgm:spPr/>
      <dgm:t>
        <a:bodyPr/>
        <a:lstStyle/>
        <a:p>
          <a:r>
            <a:rPr lang="en-US" baseline="0"/>
            <a:t>A diagnostics log is generated with an intelligent insight on what is happening with your database. </a:t>
          </a:r>
          <a:endParaRPr lang="en-US"/>
        </a:p>
      </dgm:t>
    </dgm:pt>
    <dgm:pt modelId="{FE8D24DB-EE78-4967-93C9-30422A168105}" type="parTrans" cxnId="{F1AFE03C-5684-45F3-BE8C-79F4DD4D4C3F}">
      <dgm:prSet/>
      <dgm:spPr/>
      <dgm:t>
        <a:bodyPr/>
        <a:lstStyle/>
        <a:p>
          <a:endParaRPr lang="en-US"/>
        </a:p>
      </dgm:t>
    </dgm:pt>
    <dgm:pt modelId="{DB37AF47-4C69-4766-AB33-65EF6F8CBA39}" type="sibTrans" cxnId="{F1AFE03C-5684-45F3-BE8C-79F4DD4D4C3F}">
      <dgm:prSet/>
      <dgm:spPr/>
      <dgm:t>
        <a:bodyPr/>
        <a:lstStyle/>
        <a:p>
          <a:endParaRPr lang="en-US"/>
        </a:p>
      </dgm:t>
    </dgm:pt>
    <dgm:pt modelId="{95F32FF5-6A02-4634-9D44-781E62A8601F}">
      <dgm:prSet/>
      <dgm:spPr/>
      <dgm:t>
        <a:bodyPr/>
        <a:lstStyle/>
        <a:p>
          <a:r>
            <a:rPr lang="en-US" baseline="0"/>
            <a:t>Each detected issue is tracked through its lifecycle from initial issue detection and verification of performance improvement to its completion.</a:t>
          </a:r>
          <a:endParaRPr lang="en-US"/>
        </a:p>
      </dgm:t>
    </dgm:pt>
    <dgm:pt modelId="{C6CB647B-5161-4D6C-AFC7-4D85B3F92585}" type="parTrans" cxnId="{BA374D1C-670C-4F5E-9DA0-AD2DDEB5DBEC}">
      <dgm:prSet/>
      <dgm:spPr/>
      <dgm:t>
        <a:bodyPr/>
        <a:lstStyle/>
        <a:p>
          <a:endParaRPr lang="en-US"/>
        </a:p>
      </dgm:t>
    </dgm:pt>
    <dgm:pt modelId="{5645DD88-4C84-461A-B743-242CA47A46B8}" type="sibTrans" cxnId="{BA374D1C-670C-4F5E-9DA0-AD2DDEB5DBEC}">
      <dgm:prSet/>
      <dgm:spPr/>
      <dgm:t>
        <a:bodyPr/>
        <a:lstStyle/>
        <a:p>
          <a:endParaRPr lang="en-US"/>
        </a:p>
      </dgm:t>
    </dgm:pt>
    <dgm:pt modelId="{EAEBD1B0-0F67-4E5F-BC85-CD0D10E7F888}">
      <dgm:prSet/>
      <dgm:spPr/>
      <dgm:t>
        <a:bodyPr/>
        <a:lstStyle/>
        <a:p>
          <a:r>
            <a:rPr lang="en-US" baseline="0"/>
            <a:t>Updates are provided in the diagnostics log every 15 minutes. </a:t>
          </a:r>
          <a:endParaRPr lang="en-US"/>
        </a:p>
      </dgm:t>
    </dgm:pt>
    <dgm:pt modelId="{6239C749-9C1B-4888-B055-45AEF0063EA5}" type="parTrans" cxnId="{57AEF044-17A9-4FBB-B232-C784F537EA73}">
      <dgm:prSet/>
      <dgm:spPr/>
      <dgm:t>
        <a:bodyPr/>
        <a:lstStyle/>
        <a:p>
          <a:endParaRPr lang="en-US"/>
        </a:p>
      </dgm:t>
    </dgm:pt>
    <dgm:pt modelId="{9BDE6E63-40EA-42E6-B610-B260E083E6CD}" type="sibTrans" cxnId="{57AEF044-17A9-4FBB-B232-C784F537EA73}">
      <dgm:prSet/>
      <dgm:spPr/>
      <dgm:t>
        <a:bodyPr/>
        <a:lstStyle/>
        <a:p>
          <a:endParaRPr lang="en-US"/>
        </a:p>
      </dgm:t>
    </dgm:pt>
    <dgm:pt modelId="{1EB70A93-F55E-4329-8CA8-4E6E2D4AA97E}">
      <dgm:prSet/>
      <dgm:spPr/>
      <dgm:t>
        <a:bodyPr/>
        <a:lstStyle/>
        <a:p>
          <a:r>
            <a:rPr lang="en-US" baseline="0"/>
            <a:t>The metrics used to measure and detect database performance issues are based on query duration, timeout requests, excessive wait times, and errored requests.</a:t>
          </a:r>
          <a:endParaRPr lang="en-US"/>
        </a:p>
      </dgm:t>
    </dgm:pt>
    <dgm:pt modelId="{1EAB7878-8E65-4C43-9596-FEA598EEF7AA}" type="parTrans" cxnId="{F1DCE5F5-786F-4978-B0FE-06BFA1925B93}">
      <dgm:prSet/>
      <dgm:spPr/>
      <dgm:t>
        <a:bodyPr/>
        <a:lstStyle/>
        <a:p>
          <a:endParaRPr lang="en-US"/>
        </a:p>
      </dgm:t>
    </dgm:pt>
    <dgm:pt modelId="{55D1408A-DEE3-4BFE-BA32-A4BFCBC3841E}" type="sibTrans" cxnId="{F1DCE5F5-786F-4978-B0FE-06BFA1925B93}">
      <dgm:prSet/>
      <dgm:spPr/>
      <dgm:t>
        <a:bodyPr/>
        <a:lstStyle/>
        <a:p>
          <a:endParaRPr lang="en-US"/>
        </a:p>
      </dgm:t>
    </dgm:pt>
    <dgm:pt modelId="{DA204E15-0A0C-4531-B5DD-601A2711D799}" type="pres">
      <dgm:prSet presAssocID="{9B8436AD-13CD-4586-A572-DFF5B0AB9780}" presName="vert0" presStyleCnt="0">
        <dgm:presLayoutVars>
          <dgm:dir/>
          <dgm:animOne val="branch"/>
          <dgm:animLvl val="lvl"/>
        </dgm:presLayoutVars>
      </dgm:prSet>
      <dgm:spPr/>
    </dgm:pt>
    <dgm:pt modelId="{35BDDB0F-BA41-4E2B-A995-A5AD6D2492B5}" type="pres">
      <dgm:prSet presAssocID="{1A592100-4CA5-4CFA-9EFD-49BFACE434C4}" presName="thickLine" presStyleLbl="alignNode1" presStyleIdx="0" presStyleCnt="6"/>
      <dgm:spPr/>
    </dgm:pt>
    <dgm:pt modelId="{F51981BA-F469-44C3-8086-16B7552D96B3}" type="pres">
      <dgm:prSet presAssocID="{1A592100-4CA5-4CFA-9EFD-49BFACE434C4}" presName="horz1" presStyleCnt="0"/>
      <dgm:spPr/>
    </dgm:pt>
    <dgm:pt modelId="{748C3C5F-046A-4B62-B86A-466FB521DE52}" type="pres">
      <dgm:prSet presAssocID="{1A592100-4CA5-4CFA-9EFD-49BFACE434C4}" presName="tx1" presStyleLbl="revTx" presStyleIdx="0" presStyleCnt="6"/>
      <dgm:spPr/>
    </dgm:pt>
    <dgm:pt modelId="{964E8EBD-C10D-4183-BACF-F0859FB99461}" type="pres">
      <dgm:prSet presAssocID="{1A592100-4CA5-4CFA-9EFD-49BFACE434C4}" presName="vert1" presStyleCnt="0"/>
      <dgm:spPr/>
    </dgm:pt>
    <dgm:pt modelId="{F5E9A05D-D6B1-470C-A6F9-A286352DA216}" type="pres">
      <dgm:prSet presAssocID="{3C6EDC06-7413-45B0-905D-4C294C36AC3D}" presName="thickLine" presStyleLbl="alignNode1" presStyleIdx="1" presStyleCnt="6"/>
      <dgm:spPr/>
    </dgm:pt>
    <dgm:pt modelId="{E859CAE2-D095-45EB-887C-C47CC43BC742}" type="pres">
      <dgm:prSet presAssocID="{3C6EDC06-7413-45B0-905D-4C294C36AC3D}" presName="horz1" presStyleCnt="0"/>
      <dgm:spPr/>
    </dgm:pt>
    <dgm:pt modelId="{ACB1F033-D779-4DDD-B78B-C122336BFB61}" type="pres">
      <dgm:prSet presAssocID="{3C6EDC06-7413-45B0-905D-4C294C36AC3D}" presName="tx1" presStyleLbl="revTx" presStyleIdx="1" presStyleCnt="6"/>
      <dgm:spPr/>
    </dgm:pt>
    <dgm:pt modelId="{B70A0DDC-F87B-41A7-B972-71E100D2D902}" type="pres">
      <dgm:prSet presAssocID="{3C6EDC06-7413-45B0-905D-4C294C36AC3D}" presName="vert1" presStyleCnt="0"/>
      <dgm:spPr/>
    </dgm:pt>
    <dgm:pt modelId="{6DC71E6F-0BA6-4CD8-B200-8ABE2D214CFE}" type="pres">
      <dgm:prSet presAssocID="{41DEF835-8E68-44E1-811E-34446B287ADD}" presName="thickLine" presStyleLbl="alignNode1" presStyleIdx="2" presStyleCnt="6"/>
      <dgm:spPr/>
    </dgm:pt>
    <dgm:pt modelId="{E7C1B74B-9E32-4D45-B132-13E07CE44B2E}" type="pres">
      <dgm:prSet presAssocID="{41DEF835-8E68-44E1-811E-34446B287ADD}" presName="horz1" presStyleCnt="0"/>
      <dgm:spPr/>
    </dgm:pt>
    <dgm:pt modelId="{0D57ECE6-7BE0-4D6D-A13A-69EADA5D7AD3}" type="pres">
      <dgm:prSet presAssocID="{41DEF835-8E68-44E1-811E-34446B287ADD}" presName="tx1" presStyleLbl="revTx" presStyleIdx="2" presStyleCnt="6"/>
      <dgm:spPr/>
    </dgm:pt>
    <dgm:pt modelId="{A93238B5-CFAC-483F-BFFA-0A1CB2107D12}" type="pres">
      <dgm:prSet presAssocID="{41DEF835-8E68-44E1-811E-34446B287ADD}" presName="vert1" presStyleCnt="0"/>
      <dgm:spPr/>
    </dgm:pt>
    <dgm:pt modelId="{245331D4-E8FD-4557-8620-4E58BC23C137}" type="pres">
      <dgm:prSet presAssocID="{95F32FF5-6A02-4634-9D44-781E62A8601F}" presName="thickLine" presStyleLbl="alignNode1" presStyleIdx="3" presStyleCnt="6"/>
      <dgm:spPr/>
    </dgm:pt>
    <dgm:pt modelId="{4D04AA5D-DE04-4A99-B4AF-8D21E8AB0EE6}" type="pres">
      <dgm:prSet presAssocID="{95F32FF5-6A02-4634-9D44-781E62A8601F}" presName="horz1" presStyleCnt="0"/>
      <dgm:spPr/>
    </dgm:pt>
    <dgm:pt modelId="{696086BC-FDED-4E8E-ACC8-9BC5AB79EA83}" type="pres">
      <dgm:prSet presAssocID="{95F32FF5-6A02-4634-9D44-781E62A8601F}" presName="tx1" presStyleLbl="revTx" presStyleIdx="3" presStyleCnt="6"/>
      <dgm:spPr/>
    </dgm:pt>
    <dgm:pt modelId="{24C6B578-EF6C-47D3-93D0-79E4E81A0D78}" type="pres">
      <dgm:prSet presAssocID="{95F32FF5-6A02-4634-9D44-781E62A8601F}" presName="vert1" presStyleCnt="0"/>
      <dgm:spPr/>
    </dgm:pt>
    <dgm:pt modelId="{94E2BC68-77BF-46F5-8DB5-3B2B8D171282}" type="pres">
      <dgm:prSet presAssocID="{EAEBD1B0-0F67-4E5F-BC85-CD0D10E7F888}" presName="thickLine" presStyleLbl="alignNode1" presStyleIdx="4" presStyleCnt="6"/>
      <dgm:spPr/>
    </dgm:pt>
    <dgm:pt modelId="{D648A8F5-B3DD-4D92-895A-FD99D26DCBBD}" type="pres">
      <dgm:prSet presAssocID="{EAEBD1B0-0F67-4E5F-BC85-CD0D10E7F888}" presName="horz1" presStyleCnt="0"/>
      <dgm:spPr/>
    </dgm:pt>
    <dgm:pt modelId="{1E5050C9-06A2-466C-961D-69F72DF9DF27}" type="pres">
      <dgm:prSet presAssocID="{EAEBD1B0-0F67-4E5F-BC85-CD0D10E7F888}" presName="tx1" presStyleLbl="revTx" presStyleIdx="4" presStyleCnt="6"/>
      <dgm:spPr/>
    </dgm:pt>
    <dgm:pt modelId="{E6C8D20D-ABC1-4562-8334-E52900C35B31}" type="pres">
      <dgm:prSet presAssocID="{EAEBD1B0-0F67-4E5F-BC85-CD0D10E7F888}" presName="vert1" presStyleCnt="0"/>
      <dgm:spPr/>
    </dgm:pt>
    <dgm:pt modelId="{6CC4FC9B-7F14-40EB-BC5F-80D19025E4F8}" type="pres">
      <dgm:prSet presAssocID="{1EB70A93-F55E-4329-8CA8-4E6E2D4AA97E}" presName="thickLine" presStyleLbl="alignNode1" presStyleIdx="5" presStyleCnt="6"/>
      <dgm:spPr/>
    </dgm:pt>
    <dgm:pt modelId="{F859B9D5-8BFE-4A54-BEDE-F0BF2F744A33}" type="pres">
      <dgm:prSet presAssocID="{1EB70A93-F55E-4329-8CA8-4E6E2D4AA97E}" presName="horz1" presStyleCnt="0"/>
      <dgm:spPr/>
    </dgm:pt>
    <dgm:pt modelId="{3A54FB24-A169-439B-AA08-12448FE2BA88}" type="pres">
      <dgm:prSet presAssocID="{1EB70A93-F55E-4329-8CA8-4E6E2D4AA97E}" presName="tx1" presStyleLbl="revTx" presStyleIdx="5" presStyleCnt="6"/>
      <dgm:spPr/>
    </dgm:pt>
    <dgm:pt modelId="{E0B63C0F-5D9D-4059-A157-5AF3BCC3ECFD}" type="pres">
      <dgm:prSet presAssocID="{1EB70A93-F55E-4329-8CA8-4E6E2D4AA97E}" presName="vert1" presStyleCnt="0"/>
      <dgm:spPr/>
    </dgm:pt>
  </dgm:ptLst>
  <dgm:cxnLst>
    <dgm:cxn modelId="{BA374D1C-670C-4F5E-9DA0-AD2DDEB5DBEC}" srcId="{9B8436AD-13CD-4586-A572-DFF5B0AB9780}" destId="{95F32FF5-6A02-4634-9D44-781E62A8601F}" srcOrd="3" destOrd="0" parTransId="{C6CB647B-5161-4D6C-AFC7-4D85B3F92585}" sibTransId="{5645DD88-4C84-461A-B743-242CA47A46B8}"/>
    <dgm:cxn modelId="{F1AFE03C-5684-45F3-BE8C-79F4DD4D4C3F}" srcId="{9B8436AD-13CD-4586-A572-DFF5B0AB9780}" destId="{41DEF835-8E68-44E1-811E-34446B287ADD}" srcOrd="2" destOrd="0" parTransId="{FE8D24DB-EE78-4967-93C9-30422A168105}" sibTransId="{DB37AF47-4C69-4766-AB33-65EF6F8CBA39}"/>
    <dgm:cxn modelId="{57AEF044-17A9-4FBB-B232-C784F537EA73}" srcId="{9B8436AD-13CD-4586-A572-DFF5B0AB9780}" destId="{EAEBD1B0-0F67-4E5F-BC85-CD0D10E7F888}" srcOrd="4" destOrd="0" parTransId="{6239C749-9C1B-4888-B055-45AEF0063EA5}" sibTransId="{9BDE6E63-40EA-42E6-B610-B260E083E6CD}"/>
    <dgm:cxn modelId="{901D116E-F7CA-48A2-9B75-EA106FC2FB35}" type="presOf" srcId="{1A592100-4CA5-4CFA-9EFD-49BFACE434C4}" destId="{748C3C5F-046A-4B62-B86A-466FB521DE52}" srcOrd="0" destOrd="0" presId="urn:microsoft.com/office/officeart/2008/layout/LinedList"/>
    <dgm:cxn modelId="{6B81CC98-4313-48E5-B756-17C09B588FD6}" type="presOf" srcId="{9B8436AD-13CD-4586-A572-DFF5B0AB9780}" destId="{DA204E15-0A0C-4531-B5DD-601A2711D799}" srcOrd="0" destOrd="0" presId="urn:microsoft.com/office/officeart/2008/layout/LinedList"/>
    <dgm:cxn modelId="{E8896B9E-C38B-49E0-B75F-4946B9332E47}" type="presOf" srcId="{95F32FF5-6A02-4634-9D44-781E62A8601F}" destId="{696086BC-FDED-4E8E-ACC8-9BC5AB79EA83}" srcOrd="0" destOrd="0" presId="urn:microsoft.com/office/officeart/2008/layout/LinedList"/>
    <dgm:cxn modelId="{CB7F25B5-7E33-423F-9733-618F9A041749}" type="presOf" srcId="{EAEBD1B0-0F67-4E5F-BC85-CD0D10E7F888}" destId="{1E5050C9-06A2-466C-961D-69F72DF9DF27}" srcOrd="0" destOrd="0" presId="urn:microsoft.com/office/officeart/2008/layout/LinedList"/>
    <dgm:cxn modelId="{265A1EC4-CEF0-4CAE-AC31-BF1B44905B85}" srcId="{9B8436AD-13CD-4586-A572-DFF5B0AB9780}" destId="{1A592100-4CA5-4CFA-9EFD-49BFACE434C4}" srcOrd="0" destOrd="0" parTransId="{A7C8097D-E151-4B67-829C-59B1FCCE2901}" sibTransId="{A8F8A884-7BB5-4A7F-A4AE-732519A34AF1}"/>
    <dgm:cxn modelId="{DED7ABD6-8DDE-47C3-9785-E73D94753FAE}" type="presOf" srcId="{41DEF835-8E68-44E1-811E-34446B287ADD}" destId="{0D57ECE6-7BE0-4D6D-A13A-69EADA5D7AD3}" srcOrd="0" destOrd="0" presId="urn:microsoft.com/office/officeart/2008/layout/LinedList"/>
    <dgm:cxn modelId="{B3A52DE0-4EB5-4D3A-BBC3-C879E68F2180}" type="presOf" srcId="{3C6EDC06-7413-45B0-905D-4C294C36AC3D}" destId="{ACB1F033-D779-4DDD-B78B-C122336BFB61}" srcOrd="0" destOrd="0" presId="urn:microsoft.com/office/officeart/2008/layout/LinedList"/>
    <dgm:cxn modelId="{5001C6ED-1E13-4509-ADE9-B54BF3C020CA}" type="presOf" srcId="{1EB70A93-F55E-4329-8CA8-4E6E2D4AA97E}" destId="{3A54FB24-A169-439B-AA08-12448FE2BA88}" srcOrd="0" destOrd="0" presId="urn:microsoft.com/office/officeart/2008/layout/LinedList"/>
    <dgm:cxn modelId="{7C9489EF-53F4-42A6-9E73-DCE19B5C3EBE}" srcId="{9B8436AD-13CD-4586-A572-DFF5B0AB9780}" destId="{3C6EDC06-7413-45B0-905D-4C294C36AC3D}" srcOrd="1" destOrd="0" parTransId="{2692B117-F7E2-49D3-B1B9-66C2E57B968A}" sibTransId="{1174D89F-2239-4997-A848-A4810A1CA06A}"/>
    <dgm:cxn modelId="{F1DCE5F5-786F-4978-B0FE-06BFA1925B93}" srcId="{9B8436AD-13CD-4586-A572-DFF5B0AB9780}" destId="{1EB70A93-F55E-4329-8CA8-4E6E2D4AA97E}" srcOrd="5" destOrd="0" parTransId="{1EAB7878-8E65-4C43-9596-FEA598EEF7AA}" sibTransId="{55D1408A-DEE3-4BFE-BA32-A4BFCBC3841E}"/>
    <dgm:cxn modelId="{83018583-F80E-4E50-9A99-BFE2CF51DEBB}" type="presParOf" srcId="{DA204E15-0A0C-4531-B5DD-601A2711D799}" destId="{35BDDB0F-BA41-4E2B-A995-A5AD6D2492B5}" srcOrd="0" destOrd="0" presId="urn:microsoft.com/office/officeart/2008/layout/LinedList"/>
    <dgm:cxn modelId="{1E37EC9B-75A7-4F6B-B8AC-D0B609F91569}" type="presParOf" srcId="{DA204E15-0A0C-4531-B5DD-601A2711D799}" destId="{F51981BA-F469-44C3-8086-16B7552D96B3}" srcOrd="1" destOrd="0" presId="urn:microsoft.com/office/officeart/2008/layout/LinedList"/>
    <dgm:cxn modelId="{1C0AE5A5-4913-4493-8880-8B67AC3AEDCF}" type="presParOf" srcId="{F51981BA-F469-44C3-8086-16B7552D96B3}" destId="{748C3C5F-046A-4B62-B86A-466FB521DE52}" srcOrd="0" destOrd="0" presId="urn:microsoft.com/office/officeart/2008/layout/LinedList"/>
    <dgm:cxn modelId="{A9BA35BF-FAAE-47B8-9570-03690CD2F0E3}" type="presParOf" srcId="{F51981BA-F469-44C3-8086-16B7552D96B3}" destId="{964E8EBD-C10D-4183-BACF-F0859FB99461}" srcOrd="1" destOrd="0" presId="urn:microsoft.com/office/officeart/2008/layout/LinedList"/>
    <dgm:cxn modelId="{8B480F2C-DB60-4304-AF7F-39502A4C3635}" type="presParOf" srcId="{DA204E15-0A0C-4531-B5DD-601A2711D799}" destId="{F5E9A05D-D6B1-470C-A6F9-A286352DA216}" srcOrd="2" destOrd="0" presId="urn:microsoft.com/office/officeart/2008/layout/LinedList"/>
    <dgm:cxn modelId="{2F9017EC-B8D3-4070-B875-06981EE29A30}" type="presParOf" srcId="{DA204E15-0A0C-4531-B5DD-601A2711D799}" destId="{E859CAE2-D095-45EB-887C-C47CC43BC742}" srcOrd="3" destOrd="0" presId="urn:microsoft.com/office/officeart/2008/layout/LinedList"/>
    <dgm:cxn modelId="{7C1C9501-5E38-4212-8E7E-AF3C5EE98667}" type="presParOf" srcId="{E859CAE2-D095-45EB-887C-C47CC43BC742}" destId="{ACB1F033-D779-4DDD-B78B-C122336BFB61}" srcOrd="0" destOrd="0" presId="urn:microsoft.com/office/officeart/2008/layout/LinedList"/>
    <dgm:cxn modelId="{3FE70087-5916-45D7-B257-2523447844AD}" type="presParOf" srcId="{E859CAE2-D095-45EB-887C-C47CC43BC742}" destId="{B70A0DDC-F87B-41A7-B972-71E100D2D902}" srcOrd="1" destOrd="0" presId="urn:microsoft.com/office/officeart/2008/layout/LinedList"/>
    <dgm:cxn modelId="{4F77C564-D314-4BC1-9A6E-0414B780D70B}" type="presParOf" srcId="{DA204E15-0A0C-4531-B5DD-601A2711D799}" destId="{6DC71E6F-0BA6-4CD8-B200-8ABE2D214CFE}" srcOrd="4" destOrd="0" presId="urn:microsoft.com/office/officeart/2008/layout/LinedList"/>
    <dgm:cxn modelId="{C1B903DE-B7CC-42AB-AD29-DC597E2B8664}" type="presParOf" srcId="{DA204E15-0A0C-4531-B5DD-601A2711D799}" destId="{E7C1B74B-9E32-4D45-B132-13E07CE44B2E}" srcOrd="5" destOrd="0" presId="urn:microsoft.com/office/officeart/2008/layout/LinedList"/>
    <dgm:cxn modelId="{F240716C-EA93-4A95-804B-AD55022AA43D}" type="presParOf" srcId="{E7C1B74B-9E32-4D45-B132-13E07CE44B2E}" destId="{0D57ECE6-7BE0-4D6D-A13A-69EADA5D7AD3}" srcOrd="0" destOrd="0" presId="urn:microsoft.com/office/officeart/2008/layout/LinedList"/>
    <dgm:cxn modelId="{5C52266C-0AB6-4CB2-BD95-F9BFCBB6B6EA}" type="presParOf" srcId="{E7C1B74B-9E32-4D45-B132-13E07CE44B2E}" destId="{A93238B5-CFAC-483F-BFFA-0A1CB2107D12}" srcOrd="1" destOrd="0" presId="urn:microsoft.com/office/officeart/2008/layout/LinedList"/>
    <dgm:cxn modelId="{EAD558A6-AB03-4314-A1D6-5E985F15AC85}" type="presParOf" srcId="{DA204E15-0A0C-4531-B5DD-601A2711D799}" destId="{245331D4-E8FD-4557-8620-4E58BC23C137}" srcOrd="6" destOrd="0" presId="urn:microsoft.com/office/officeart/2008/layout/LinedList"/>
    <dgm:cxn modelId="{0731BEAD-5773-4A71-B580-4E603DC1D137}" type="presParOf" srcId="{DA204E15-0A0C-4531-B5DD-601A2711D799}" destId="{4D04AA5D-DE04-4A99-B4AF-8D21E8AB0EE6}" srcOrd="7" destOrd="0" presId="urn:microsoft.com/office/officeart/2008/layout/LinedList"/>
    <dgm:cxn modelId="{BA823574-E1B6-4647-9618-049C39051F75}" type="presParOf" srcId="{4D04AA5D-DE04-4A99-B4AF-8D21E8AB0EE6}" destId="{696086BC-FDED-4E8E-ACC8-9BC5AB79EA83}" srcOrd="0" destOrd="0" presId="urn:microsoft.com/office/officeart/2008/layout/LinedList"/>
    <dgm:cxn modelId="{3903DEF6-C30D-4AE7-B998-499A6F236937}" type="presParOf" srcId="{4D04AA5D-DE04-4A99-B4AF-8D21E8AB0EE6}" destId="{24C6B578-EF6C-47D3-93D0-79E4E81A0D78}" srcOrd="1" destOrd="0" presId="urn:microsoft.com/office/officeart/2008/layout/LinedList"/>
    <dgm:cxn modelId="{5056EAE7-4004-4F4A-80E2-48285C765D18}" type="presParOf" srcId="{DA204E15-0A0C-4531-B5DD-601A2711D799}" destId="{94E2BC68-77BF-46F5-8DB5-3B2B8D171282}" srcOrd="8" destOrd="0" presId="urn:microsoft.com/office/officeart/2008/layout/LinedList"/>
    <dgm:cxn modelId="{0178ABDB-EBC6-4828-81D5-8196D59E10E3}" type="presParOf" srcId="{DA204E15-0A0C-4531-B5DD-601A2711D799}" destId="{D648A8F5-B3DD-4D92-895A-FD99D26DCBBD}" srcOrd="9" destOrd="0" presId="urn:microsoft.com/office/officeart/2008/layout/LinedList"/>
    <dgm:cxn modelId="{3A228A99-2E90-4D6A-8901-FA39E34557E7}" type="presParOf" srcId="{D648A8F5-B3DD-4D92-895A-FD99D26DCBBD}" destId="{1E5050C9-06A2-466C-961D-69F72DF9DF27}" srcOrd="0" destOrd="0" presId="urn:microsoft.com/office/officeart/2008/layout/LinedList"/>
    <dgm:cxn modelId="{15E4CEFD-045F-4875-B371-91C919CE67CA}" type="presParOf" srcId="{D648A8F5-B3DD-4D92-895A-FD99D26DCBBD}" destId="{E6C8D20D-ABC1-4562-8334-E52900C35B31}" srcOrd="1" destOrd="0" presId="urn:microsoft.com/office/officeart/2008/layout/LinedList"/>
    <dgm:cxn modelId="{1CD83DE9-54D4-4CE5-BA6F-52FAB4B31F23}" type="presParOf" srcId="{DA204E15-0A0C-4531-B5DD-601A2711D799}" destId="{6CC4FC9B-7F14-40EB-BC5F-80D19025E4F8}" srcOrd="10" destOrd="0" presId="urn:microsoft.com/office/officeart/2008/layout/LinedList"/>
    <dgm:cxn modelId="{895419D2-763F-4376-93A3-EFA58C01E031}" type="presParOf" srcId="{DA204E15-0A0C-4531-B5DD-601A2711D799}" destId="{F859B9D5-8BFE-4A54-BEDE-F0BF2F744A33}" srcOrd="11" destOrd="0" presId="urn:microsoft.com/office/officeart/2008/layout/LinedList"/>
    <dgm:cxn modelId="{51F3D7C2-68CC-46DF-974F-A469A2B9344A}" type="presParOf" srcId="{F859B9D5-8BFE-4A54-BEDE-F0BF2F744A33}" destId="{3A54FB24-A169-439B-AA08-12448FE2BA88}" srcOrd="0" destOrd="0" presId="urn:microsoft.com/office/officeart/2008/layout/LinedList"/>
    <dgm:cxn modelId="{5C8D93AE-7D1E-4B27-A0EE-9D2178F1419C}" type="presParOf" srcId="{F859B9D5-8BFE-4A54-BEDE-F0BF2F744A33}" destId="{E0B63C0F-5D9D-4059-A157-5AF3BCC3ECFD}"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260D9588-D2BE-4378-B4AB-EA7BD8D3A742}"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B1DE03C4-CE67-4B1D-B3B8-6740CEE3ADF0}">
      <dgm:prSet/>
      <dgm:spPr/>
      <dgm:t>
        <a:bodyPr/>
        <a:lstStyle/>
        <a:p>
          <a:r>
            <a:rPr lang="en-US" baseline="0"/>
            <a:t>Azure Log Analytics </a:t>
          </a:r>
          <a:endParaRPr lang="en-US"/>
        </a:p>
      </dgm:t>
    </dgm:pt>
    <dgm:pt modelId="{1D223E02-3FB7-4F96-9BC0-9244D3B450D9}" type="parTrans" cxnId="{C690F179-BFA0-4D2B-8D56-4AE0FCAAEF7C}">
      <dgm:prSet/>
      <dgm:spPr/>
      <dgm:t>
        <a:bodyPr/>
        <a:lstStyle/>
        <a:p>
          <a:endParaRPr lang="en-US"/>
        </a:p>
      </dgm:t>
    </dgm:pt>
    <dgm:pt modelId="{9D3294E4-F141-45CC-8610-3B8BF93B7559}" type="sibTrans" cxnId="{C690F179-BFA0-4D2B-8D56-4AE0FCAAEF7C}">
      <dgm:prSet/>
      <dgm:spPr/>
      <dgm:t>
        <a:bodyPr/>
        <a:lstStyle/>
        <a:p>
          <a:endParaRPr lang="en-US"/>
        </a:p>
      </dgm:t>
    </dgm:pt>
    <dgm:pt modelId="{655142FE-11E8-48C6-94EF-34CA40EA0022}">
      <dgm:prSet/>
      <dgm:spPr/>
      <dgm:t>
        <a:bodyPr/>
        <a:lstStyle/>
        <a:p>
          <a:r>
            <a:rPr lang="en-US" baseline="0" dirty="0"/>
            <a:t>Used to view the insights through a web browser.</a:t>
          </a:r>
          <a:endParaRPr lang="en-US" dirty="0"/>
        </a:p>
      </dgm:t>
    </dgm:pt>
    <dgm:pt modelId="{2B9225E9-FB8E-4824-A4C2-ADCC97B06161}" type="parTrans" cxnId="{81324430-84CD-48AE-8CF2-DAE937C95A61}">
      <dgm:prSet/>
      <dgm:spPr/>
      <dgm:t>
        <a:bodyPr/>
        <a:lstStyle/>
        <a:p>
          <a:endParaRPr lang="en-US"/>
        </a:p>
      </dgm:t>
    </dgm:pt>
    <dgm:pt modelId="{910392DE-D58F-4538-9B74-82396DD3943D}" type="sibTrans" cxnId="{81324430-84CD-48AE-8CF2-DAE937C95A61}">
      <dgm:prSet/>
      <dgm:spPr/>
      <dgm:t>
        <a:bodyPr/>
        <a:lstStyle/>
        <a:p>
          <a:endParaRPr lang="en-US"/>
        </a:p>
      </dgm:t>
    </dgm:pt>
    <dgm:pt modelId="{79F5E631-A4AB-4D76-929C-71F71A7F13B8}">
      <dgm:prSet/>
      <dgm:spPr/>
      <dgm:t>
        <a:bodyPr/>
        <a:lstStyle/>
        <a:p>
          <a:r>
            <a:rPr lang="en-US" baseline="0"/>
            <a:t>Azure Event Hubs </a:t>
          </a:r>
          <a:endParaRPr lang="en-US"/>
        </a:p>
      </dgm:t>
    </dgm:pt>
    <dgm:pt modelId="{375AD5A9-0B01-41EA-A7CD-B25090D823B1}" type="parTrans" cxnId="{A77394AB-9C0E-4644-BF1A-FA81289E351B}">
      <dgm:prSet/>
      <dgm:spPr/>
      <dgm:t>
        <a:bodyPr/>
        <a:lstStyle/>
        <a:p>
          <a:endParaRPr lang="en-US"/>
        </a:p>
      </dgm:t>
    </dgm:pt>
    <dgm:pt modelId="{25828497-98CB-40AA-8F4C-0C444D443CCF}" type="sibTrans" cxnId="{A77394AB-9C0E-4644-BF1A-FA81289E351B}">
      <dgm:prSet/>
      <dgm:spPr/>
      <dgm:t>
        <a:bodyPr/>
        <a:lstStyle/>
        <a:p>
          <a:endParaRPr lang="en-US"/>
        </a:p>
      </dgm:t>
    </dgm:pt>
    <dgm:pt modelId="{2B28E688-6C00-4471-AF9C-952B75FE02D3}">
      <dgm:prSet/>
      <dgm:spPr/>
      <dgm:t>
        <a:bodyPr/>
        <a:lstStyle/>
        <a:p>
          <a:r>
            <a:rPr lang="en-US" baseline="0"/>
            <a:t>Used to configure custom monitoring and alerting scenarios.</a:t>
          </a:r>
          <a:endParaRPr lang="en-US"/>
        </a:p>
      </dgm:t>
    </dgm:pt>
    <dgm:pt modelId="{5CDF565D-2892-42FC-A560-B1B5225AD219}" type="parTrans" cxnId="{EB2FEE48-49E6-4A8E-8F62-B3EF28D00C74}">
      <dgm:prSet/>
      <dgm:spPr/>
      <dgm:t>
        <a:bodyPr/>
        <a:lstStyle/>
        <a:p>
          <a:endParaRPr lang="en-US"/>
        </a:p>
      </dgm:t>
    </dgm:pt>
    <dgm:pt modelId="{E024890C-9A25-4147-8341-7E6A88D9D1BA}" type="sibTrans" cxnId="{EB2FEE48-49E6-4A8E-8F62-B3EF28D00C74}">
      <dgm:prSet/>
      <dgm:spPr/>
      <dgm:t>
        <a:bodyPr/>
        <a:lstStyle/>
        <a:p>
          <a:endParaRPr lang="en-US"/>
        </a:p>
      </dgm:t>
    </dgm:pt>
    <dgm:pt modelId="{F68A8FA1-49F5-48D6-87EF-7FFACB542D8F}">
      <dgm:prSet/>
      <dgm:spPr/>
      <dgm:t>
        <a:bodyPr/>
        <a:lstStyle/>
        <a:p>
          <a:r>
            <a:rPr lang="en-US" baseline="0"/>
            <a:t>Azure Storage</a:t>
          </a:r>
          <a:endParaRPr lang="en-US"/>
        </a:p>
      </dgm:t>
    </dgm:pt>
    <dgm:pt modelId="{5641596E-B171-41C3-B80D-C05BB3BB3665}" type="parTrans" cxnId="{0733E0B8-8ECE-41BC-8128-9D887E0601D5}">
      <dgm:prSet/>
      <dgm:spPr/>
      <dgm:t>
        <a:bodyPr/>
        <a:lstStyle/>
        <a:p>
          <a:endParaRPr lang="en-US"/>
        </a:p>
      </dgm:t>
    </dgm:pt>
    <dgm:pt modelId="{612FC8DD-B4C1-464C-BE53-92F3690DE43E}" type="sibTrans" cxnId="{0733E0B8-8ECE-41BC-8128-9D887E0601D5}">
      <dgm:prSet/>
      <dgm:spPr/>
      <dgm:t>
        <a:bodyPr/>
        <a:lstStyle/>
        <a:p>
          <a:endParaRPr lang="en-US"/>
        </a:p>
      </dgm:t>
    </dgm:pt>
    <dgm:pt modelId="{CF379967-00E2-4CB2-B4B9-9923845D4E15}">
      <dgm:prSet/>
      <dgm:spPr/>
      <dgm:t>
        <a:bodyPr/>
        <a:lstStyle/>
        <a:p>
          <a:r>
            <a:rPr lang="en-US" baseline="0"/>
            <a:t>Used for custom application development, such as for example custom reporting, or perhaps data archiving and retrieval.</a:t>
          </a:r>
          <a:endParaRPr lang="en-US"/>
        </a:p>
      </dgm:t>
    </dgm:pt>
    <dgm:pt modelId="{7D35FBB5-0A0D-41F4-AD97-DF2C25A2999A}" type="parTrans" cxnId="{CCE95BBB-934B-4FFF-B416-5CD68589792F}">
      <dgm:prSet/>
      <dgm:spPr/>
      <dgm:t>
        <a:bodyPr/>
        <a:lstStyle/>
        <a:p>
          <a:endParaRPr lang="en-US"/>
        </a:p>
      </dgm:t>
    </dgm:pt>
    <dgm:pt modelId="{BEA95688-492F-4ABD-83FC-4F1485C781E1}" type="sibTrans" cxnId="{CCE95BBB-934B-4FFF-B416-5CD68589792F}">
      <dgm:prSet/>
      <dgm:spPr/>
      <dgm:t>
        <a:bodyPr/>
        <a:lstStyle/>
        <a:p>
          <a:endParaRPr lang="en-US"/>
        </a:p>
      </dgm:t>
    </dgm:pt>
    <dgm:pt modelId="{0E8AE370-43A0-42C0-9DA4-966B0F4BA16F}" type="pres">
      <dgm:prSet presAssocID="{260D9588-D2BE-4378-B4AB-EA7BD8D3A742}" presName="linear" presStyleCnt="0">
        <dgm:presLayoutVars>
          <dgm:animLvl val="lvl"/>
          <dgm:resizeHandles val="exact"/>
        </dgm:presLayoutVars>
      </dgm:prSet>
      <dgm:spPr/>
    </dgm:pt>
    <dgm:pt modelId="{2DFC1A3E-F9F5-4903-AC21-2D3B5BE9A790}" type="pres">
      <dgm:prSet presAssocID="{B1DE03C4-CE67-4B1D-B3B8-6740CEE3ADF0}" presName="parentText" presStyleLbl="node1" presStyleIdx="0" presStyleCnt="3">
        <dgm:presLayoutVars>
          <dgm:chMax val="0"/>
          <dgm:bulletEnabled val="1"/>
        </dgm:presLayoutVars>
      </dgm:prSet>
      <dgm:spPr/>
    </dgm:pt>
    <dgm:pt modelId="{47F2705C-D5E1-42DE-80CC-DB9D2F1BA5B9}" type="pres">
      <dgm:prSet presAssocID="{B1DE03C4-CE67-4B1D-B3B8-6740CEE3ADF0}" presName="childText" presStyleLbl="revTx" presStyleIdx="0" presStyleCnt="3">
        <dgm:presLayoutVars>
          <dgm:bulletEnabled val="1"/>
        </dgm:presLayoutVars>
      </dgm:prSet>
      <dgm:spPr/>
    </dgm:pt>
    <dgm:pt modelId="{9FDD52F0-E1F0-4974-805A-35055A1BE9E5}" type="pres">
      <dgm:prSet presAssocID="{79F5E631-A4AB-4D76-929C-71F71A7F13B8}" presName="parentText" presStyleLbl="node1" presStyleIdx="1" presStyleCnt="3">
        <dgm:presLayoutVars>
          <dgm:chMax val="0"/>
          <dgm:bulletEnabled val="1"/>
        </dgm:presLayoutVars>
      </dgm:prSet>
      <dgm:spPr/>
    </dgm:pt>
    <dgm:pt modelId="{C3C9EC96-80D7-44BA-82EE-18790AE316F7}" type="pres">
      <dgm:prSet presAssocID="{79F5E631-A4AB-4D76-929C-71F71A7F13B8}" presName="childText" presStyleLbl="revTx" presStyleIdx="1" presStyleCnt="3">
        <dgm:presLayoutVars>
          <dgm:bulletEnabled val="1"/>
        </dgm:presLayoutVars>
      </dgm:prSet>
      <dgm:spPr/>
    </dgm:pt>
    <dgm:pt modelId="{1421C87B-C85D-4970-AFC9-BB39ED6D3609}" type="pres">
      <dgm:prSet presAssocID="{F68A8FA1-49F5-48D6-87EF-7FFACB542D8F}" presName="parentText" presStyleLbl="node1" presStyleIdx="2" presStyleCnt="3">
        <dgm:presLayoutVars>
          <dgm:chMax val="0"/>
          <dgm:bulletEnabled val="1"/>
        </dgm:presLayoutVars>
      </dgm:prSet>
      <dgm:spPr/>
    </dgm:pt>
    <dgm:pt modelId="{9C548B51-9B06-4021-B0E5-1D9C1F131316}" type="pres">
      <dgm:prSet presAssocID="{F68A8FA1-49F5-48D6-87EF-7FFACB542D8F}" presName="childText" presStyleLbl="revTx" presStyleIdx="2" presStyleCnt="3">
        <dgm:presLayoutVars>
          <dgm:bulletEnabled val="1"/>
        </dgm:presLayoutVars>
      </dgm:prSet>
      <dgm:spPr/>
    </dgm:pt>
  </dgm:ptLst>
  <dgm:cxnLst>
    <dgm:cxn modelId="{70444A1B-358D-433F-B59A-BF31F1171F8A}" type="presOf" srcId="{655142FE-11E8-48C6-94EF-34CA40EA0022}" destId="{47F2705C-D5E1-42DE-80CC-DB9D2F1BA5B9}" srcOrd="0" destOrd="0" presId="urn:microsoft.com/office/officeart/2005/8/layout/vList2"/>
    <dgm:cxn modelId="{81324430-84CD-48AE-8CF2-DAE937C95A61}" srcId="{B1DE03C4-CE67-4B1D-B3B8-6740CEE3ADF0}" destId="{655142FE-11E8-48C6-94EF-34CA40EA0022}" srcOrd="0" destOrd="0" parTransId="{2B9225E9-FB8E-4824-A4C2-ADCC97B06161}" sibTransId="{910392DE-D58F-4538-9B74-82396DD3943D}"/>
    <dgm:cxn modelId="{EB2FEE48-49E6-4A8E-8F62-B3EF28D00C74}" srcId="{79F5E631-A4AB-4D76-929C-71F71A7F13B8}" destId="{2B28E688-6C00-4471-AF9C-952B75FE02D3}" srcOrd="0" destOrd="0" parTransId="{5CDF565D-2892-42FC-A560-B1B5225AD219}" sibTransId="{E024890C-9A25-4147-8341-7E6A88D9D1BA}"/>
    <dgm:cxn modelId="{B933376F-DC38-4E10-9C9A-4E50F0611245}" type="presOf" srcId="{2B28E688-6C00-4471-AF9C-952B75FE02D3}" destId="{C3C9EC96-80D7-44BA-82EE-18790AE316F7}" srcOrd="0" destOrd="0" presId="urn:microsoft.com/office/officeart/2005/8/layout/vList2"/>
    <dgm:cxn modelId="{C690F179-BFA0-4D2B-8D56-4AE0FCAAEF7C}" srcId="{260D9588-D2BE-4378-B4AB-EA7BD8D3A742}" destId="{B1DE03C4-CE67-4B1D-B3B8-6740CEE3ADF0}" srcOrd="0" destOrd="0" parTransId="{1D223E02-3FB7-4F96-9BC0-9244D3B450D9}" sibTransId="{9D3294E4-F141-45CC-8610-3B8BF93B7559}"/>
    <dgm:cxn modelId="{2AE4767C-FD99-45CA-B0FA-242C0B8B03F9}" type="presOf" srcId="{260D9588-D2BE-4378-B4AB-EA7BD8D3A742}" destId="{0E8AE370-43A0-42C0-9DA4-966B0F4BA16F}" srcOrd="0" destOrd="0" presId="urn:microsoft.com/office/officeart/2005/8/layout/vList2"/>
    <dgm:cxn modelId="{8D975991-0F59-4E54-B2F6-B226F8B293F9}" type="presOf" srcId="{79F5E631-A4AB-4D76-929C-71F71A7F13B8}" destId="{9FDD52F0-E1F0-4974-805A-35055A1BE9E5}" srcOrd="0" destOrd="0" presId="urn:microsoft.com/office/officeart/2005/8/layout/vList2"/>
    <dgm:cxn modelId="{38F0D5AA-D7D3-430C-A7DF-6F5047775BC7}" type="presOf" srcId="{B1DE03C4-CE67-4B1D-B3B8-6740CEE3ADF0}" destId="{2DFC1A3E-F9F5-4903-AC21-2D3B5BE9A790}" srcOrd="0" destOrd="0" presId="urn:microsoft.com/office/officeart/2005/8/layout/vList2"/>
    <dgm:cxn modelId="{A77394AB-9C0E-4644-BF1A-FA81289E351B}" srcId="{260D9588-D2BE-4378-B4AB-EA7BD8D3A742}" destId="{79F5E631-A4AB-4D76-929C-71F71A7F13B8}" srcOrd="1" destOrd="0" parTransId="{375AD5A9-0B01-41EA-A7CD-B25090D823B1}" sibTransId="{25828497-98CB-40AA-8F4C-0C444D443CCF}"/>
    <dgm:cxn modelId="{0733E0B8-8ECE-41BC-8128-9D887E0601D5}" srcId="{260D9588-D2BE-4378-B4AB-EA7BD8D3A742}" destId="{F68A8FA1-49F5-48D6-87EF-7FFACB542D8F}" srcOrd="2" destOrd="0" parTransId="{5641596E-B171-41C3-B80D-C05BB3BB3665}" sibTransId="{612FC8DD-B4C1-464C-BE53-92F3690DE43E}"/>
    <dgm:cxn modelId="{CCE95BBB-934B-4FFF-B416-5CD68589792F}" srcId="{F68A8FA1-49F5-48D6-87EF-7FFACB542D8F}" destId="{CF379967-00E2-4CB2-B4B9-9923845D4E15}" srcOrd="0" destOrd="0" parTransId="{7D35FBB5-0A0D-41F4-AD97-DF2C25A2999A}" sibTransId="{BEA95688-492F-4ABD-83FC-4F1485C781E1}"/>
    <dgm:cxn modelId="{E7E987E8-EBF3-459B-AF6D-17AED136154F}" type="presOf" srcId="{CF379967-00E2-4CB2-B4B9-9923845D4E15}" destId="{9C548B51-9B06-4021-B0E5-1D9C1F131316}" srcOrd="0" destOrd="0" presId="urn:microsoft.com/office/officeart/2005/8/layout/vList2"/>
    <dgm:cxn modelId="{27360BF2-FD8C-4E89-8947-8168DA511338}" type="presOf" srcId="{F68A8FA1-49F5-48D6-87EF-7FFACB542D8F}" destId="{1421C87B-C85D-4970-AFC9-BB39ED6D3609}" srcOrd="0" destOrd="0" presId="urn:microsoft.com/office/officeart/2005/8/layout/vList2"/>
    <dgm:cxn modelId="{0E680B4B-D805-44F5-AD13-180E44717C60}" type="presParOf" srcId="{0E8AE370-43A0-42C0-9DA4-966B0F4BA16F}" destId="{2DFC1A3E-F9F5-4903-AC21-2D3B5BE9A790}" srcOrd="0" destOrd="0" presId="urn:microsoft.com/office/officeart/2005/8/layout/vList2"/>
    <dgm:cxn modelId="{3F9ACC14-DF7D-4A3C-909A-F713E05B6C0B}" type="presParOf" srcId="{0E8AE370-43A0-42C0-9DA4-966B0F4BA16F}" destId="{47F2705C-D5E1-42DE-80CC-DB9D2F1BA5B9}" srcOrd="1" destOrd="0" presId="urn:microsoft.com/office/officeart/2005/8/layout/vList2"/>
    <dgm:cxn modelId="{A97B4ED9-E4FE-4804-B28B-C365EF8C934D}" type="presParOf" srcId="{0E8AE370-43A0-42C0-9DA4-966B0F4BA16F}" destId="{9FDD52F0-E1F0-4974-805A-35055A1BE9E5}" srcOrd="2" destOrd="0" presId="urn:microsoft.com/office/officeart/2005/8/layout/vList2"/>
    <dgm:cxn modelId="{95ACDCB4-E91E-497E-9BBF-EDCA9F6ED346}" type="presParOf" srcId="{0E8AE370-43A0-42C0-9DA4-966B0F4BA16F}" destId="{C3C9EC96-80D7-44BA-82EE-18790AE316F7}" srcOrd="3" destOrd="0" presId="urn:microsoft.com/office/officeart/2005/8/layout/vList2"/>
    <dgm:cxn modelId="{06502F38-1B48-4B0B-9640-C61F3D82FA92}" type="presParOf" srcId="{0E8AE370-43A0-42C0-9DA4-966B0F4BA16F}" destId="{1421C87B-C85D-4970-AFC9-BB39ED6D3609}" srcOrd="4" destOrd="0" presId="urn:microsoft.com/office/officeart/2005/8/layout/vList2"/>
    <dgm:cxn modelId="{1F170EEE-D4C3-446D-BCCE-4EACA910210D}" type="presParOf" srcId="{0E8AE370-43A0-42C0-9DA4-966B0F4BA16F}" destId="{9C548B51-9B06-4021-B0E5-1D9C1F131316}"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solidFill>
                <a:srgbClr val="FFFFFF"/>
              </a:solidFill>
            </a:rPr>
            <a:t>List three Azure resources that can be used to stream the Diagnostic Logs.</a:t>
          </a:r>
          <a:endParaRPr lang="en-US" dirty="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58B1B991-212A-410E-8681-A6D95915757E}">
      <dgm:prSet/>
      <dgm:spPr/>
      <dgm:t>
        <a:bodyPr/>
        <a:lstStyle/>
        <a:p>
          <a:r>
            <a:rPr lang="en-US" dirty="0">
              <a:solidFill>
                <a:srgbClr val="FFFFFF"/>
              </a:solidFill>
            </a:rPr>
            <a:t>What are the three possible states of a performance issue that is logged? </a:t>
          </a:r>
          <a:endParaRPr lang="en-US" dirty="0"/>
        </a:p>
      </dgm:t>
    </dgm:pt>
    <dgm:pt modelId="{08EE05D8-057C-42F7-B3DB-54849EF3F801}" type="parTrans" cxnId="{8DCF3101-190D-48D2-8E3B-9B578D82E1A5}">
      <dgm:prSet/>
      <dgm:spPr/>
      <dgm:t>
        <a:bodyPr/>
        <a:lstStyle/>
        <a:p>
          <a:endParaRPr lang="en-US"/>
        </a:p>
      </dgm:t>
    </dgm:pt>
    <dgm:pt modelId="{AD379122-9DA8-482B-A8C0-ABBC422BBC25}" type="sibTrans" cxnId="{8DCF3101-190D-48D2-8E3B-9B578D82E1A5}">
      <dgm:prSet/>
      <dgm:spPr/>
      <dgm:t>
        <a:bodyPr/>
        <a:lstStyle/>
        <a:p>
          <a:endParaRPr lang="en-US"/>
        </a:p>
      </dgm:t>
    </dgm:pt>
    <dgm:pt modelId="{AAA03A49-B89C-420E-AB93-8EA7351D51D7}">
      <dgm:prSet/>
      <dgm:spPr/>
      <dgm:t>
        <a:bodyPr/>
        <a:lstStyle/>
        <a:p>
          <a:r>
            <a:rPr lang="en-US">
              <a:solidFill>
                <a:srgbClr val="FFFFFF"/>
              </a:solidFill>
            </a:rPr>
            <a:t>What </a:t>
          </a:r>
          <a:r>
            <a:rPr lang="en-US" dirty="0">
              <a:solidFill>
                <a:srgbClr val="FFFFFF"/>
              </a:solidFill>
            </a:rPr>
            <a:t>are the metrics that are used for detection models?</a:t>
          </a:r>
          <a:endParaRPr lang="en-US" dirty="0"/>
        </a:p>
      </dgm:t>
    </dgm:pt>
    <dgm:pt modelId="{117AF1B6-CE71-42F6-B2B6-C68DCBA831B0}" type="parTrans" cxnId="{220354FD-DFFF-4A6D-8AA0-7329B86D045C}">
      <dgm:prSet/>
      <dgm:spPr/>
      <dgm:t>
        <a:bodyPr/>
        <a:lstStyle/>
        <a:p>
          <a:endParaRPr lang="en-US"/>
        </a:p>
      </dgm:t>
    </dgm:pt>
    <dgm:pt modelId="{0D138990-A04D-48AE-A779-9894D7004D6E}" type="sibTrans" cxnId="{220354FD-DFFF-4A6D-8AA0-7329B86D045C}">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custLinFactY="-67289" custLinFactNeighborY="-100000">
        <dgm:presLayoutVars>
          <dgm:chMax val="0"/>
          <dgm:bulletEnabled val="1"/>
        </dgm:presLayoutVars>
      </dgm:prSet>
      <dgm:spPr/>
    </dgm:pt>
    <dgm:pt modelId="{C612FDE1-CA0B-4448-B2A9-6EB44CD0983E}" type="pres">
      <dgm:prSet presAssocID="{CAE4D9F8-FDBB-4525-9125-6BAF56328FCE}" presName="spacer" presStyleCnt="0"/>
      <dgm:spPr/>
    </dgm:pt>
    <dgm:pt modelId="{E922B38C-D007-46D8-9A79-C8E951BC8385}" type="pres">
      <dgm:prSet presAssocID="{58B1B991-212A-410E-8681-A6D95915757E}" presName="parentText" presStyleLbl="node1" presStyleIdx="1" presStyleCnt="3" custLinFactY="-67289" custLinFactNeighborY="-100000">
        <dgm:presLayoutVars>
          <dgm:chMax val="0"/>
          <dgm:bulletEnabled val="1"/>
        </dgm:presLayoutVars>
      </dgm:prSet>
      <dgm:spPr/>
    </dgm:pt>
    <dgm:pt modelId="{1F6BD50F-22D4-4355-9D09-3F264649EA82}" type="pres">
      <dgm:prSet presAssocID="{AD379122-9DA8-482B-A8C0-ABBC422BBC25}" presName="spacer" presStyleCnt="0"/>
      <dgm:spPr/>
    </dgm:pt>
    <dgm:pt modelId="{4863A2C3-811B-4575-B639-51357EF0C004}" type="pres">
      <dgm:prSet presAssocID="{AAA03A49-B89C-420E-AB93-8EA7351D51D7}" presName="parentText" presStyleLbl="node1" presStyleIdx="2" presStyleCnt="3" custLinFactY="-67289" custLinFactNeighborY="-100000">
        <dgm:presLayoutVars>
          <dgm:chMax val="0"/>
          <dgm:bulletEnabled val="1"/>
        </dgm:presLayoutVars>
      </dgm:prSet>
      <dgm:spPr/>
    </dgm:pt>
  </dgm:ptLst>
  <dgm:cxnLst>
    <dgm:cxn modelId="{8DCF3101-190D-48D2-8E3B-9B578D82E1A5}" srcId="{15A7774C-B622-4F48-8F7B-AF1AAB74E997}" destId="{58B1B991-212A-410E-8681-A6D95915757E}" srcOrd="1" destOrd="0" parTransId="{08EE05D8-057C-42F7-B3DB-54849EF3F801}" sibTransId="{AD379122-9DA8-482B-A8C0-ABBC422BBC25}"/>
    <dgm:cxn modelId="{36D7E407-3150-4513-85B0-C20EDB658460}" type="presOf" srcId="{58B1B991-212A-410E-8681-A6D95915757E}" destId="{E922B38C-D007-46D8-9A79-C8E951BC8385}" srcOrd="0" destOrd="0" presId="urn:microsoft.com/office/officeart/2005/8/layout/vList2"/>
    <dgm:cxn modelId="{0C23B609-AB88-4FBD-B478-33E0DFAA0630}" type="presOf" srcId="{15A7774C-B622-4F48-8F7B-AF1AAB74E997}" destId="{97400BD5-14CE-4761-8A6A-64BC46D23158}" srcOrd="0" destOrd="0" presId="urn:microsoft.com/office/officeart/2005/8/layout/vList2"/>
    <dgm:cxn modelId="{69BFCD14-D015-4E9F-85DE-AB010D979AF7}" type="presOf" srcId="{AAA03A49-B89C-420E-AB93-8EA7351D51D7}" destId="{4863A2C3-811B-4575-B639-51357EF0C004}"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220354FD-DFFF-4A6D-8AA0-7329B86D045C}" srcId="{15A7774C-B622-4F48-8F7B-AF1AAB74E997}" destId="{AAA03A49-B89C-420E-AB93-8EA7351D51D7}" srcOrd="2" destOrd="0" parTransId="{117AF1B6-CE71-42F6-B2B6-C68DCBA831B0}" sibTransId="{0D138990-A04D-48AE-A779-9894D7004D6E}"/>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E82A84E-B3D8-4926-A1BA-5048D0113830}" type="presParOf" srcId="{97400BD5-14CE-4761-8A6A-64BC46D23158}" destId="{E922B38C-D007-46D8-9A79-C8E951BC8385}" srcOrd="2" destOrd="0" presId="urn:microsoft.com/office/officeart/2005/8/layout/vList2"/>
    <dgm:cxn modelId="{6305F7AA-408A-483F-B7A5-CE865639534D}" type="presParOf" srcId="{97400BD5-14CE-4761-8A6A-64BC46D23158}" destId="{1F6BD50F-22D4-4355-9D09-3F264649EA82}" srcOrd="3" destOrd="0" presId="urn:microsoft.com/office/officeart/2005/8/layout/vList2"/>
    <dgm:cxn modelId="{DC8F2DFB-2C8E-4064-A943-C38FD795A8D2}" type="presParOf" srcId="{97400BD5-14CE-4761-8A6A-64BC46D23158}" destId="{4863A2C3-811B-4575-B639-51357EF0C004}"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519189CD-C8EC-473D-9104-37CE9D533339}"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9547BFD9-94F3-4C62-9F06-AD37D0A50334}">
      <dgm:prSet/>
      <dgm:spPr/>
      <dgm:t>
        <a:bodyPr/>
        <a:lstStyle/>
        <a:p>
          <a:pPr>
            <a:lnSpc>
              <a:spcPct val="100000"/>
            </a:lnSpc>
          </a:pPr>
          <a:r>
            <a:rPr lang="en-US" baseline="0"/>
            <a:t>SQLTrace and SQLProfiler are deprecated</a:t>
          </a:r>
          <a:endParaRPr lang="en-US"/>
        </a:p>
      </dgm:t>
    </dgm:pt>
    <dgm:pt modelId="{C42E63C7-E057-4D34-BCF8-5575FBCBE54D}" type="parTrans" cxnId="{7FAAFBAB-02C1-42B3-BDF3-809913BCD819}">
      <dgm:prSet/>
      <dgm:spPr/>
      <dgm:t>
        <a:bodyPr/>
        <a:lstStyle/>
        <a:p>
          <a:endParaRPr lang="en-US"/>
        </a:p>
      </dgm:t>
    </dgm:pt>
    <dgm:pt modelId="{311FE131-A857-499C-B622-D816F5B062B0}" type="sibTrans" cxnId="{7FAAFBAB-02C1-42B3-BDF3-809913BCD819}">
      <dgm:prSet/>
      <dgm:spPr/>
      <dgm:t>
        <a:bodyPr/>
        <a:lstStyle/>
        <a:p>
          <a:pPr>
            <a:lnSpc>
              <a:spcPct val="100000"/>
            </a:lnSpc>
          </a:pPr>
          <a:endParaRPr lang="en-US"/>
        </a:p>
      </dgm:t>
    </dgm:pt>
    <dgm:pt modelId="{99C33158-36B1-4E54-BC18-147081459373}">
      <dgm:prSet/>
      <dgm:spPr/>
      <dgm:t>
        <a:bodyPr/>
        <a:lstStyle/>
        <a:p>
          <a:pPr>
            <a:lnSpc>
              <a:spcPct val="100000"/>
            </a:lnSpc>
          </a:pPr>
          <a:r>
            <a:rPr lang="en-US" baseline="0"/>
            <a:t>Faster and scalable</a:t>
          </a:r>
          <a:endParaRPr lang="en-US"/>
        </a:p>
      </dgm:t>
    </dgm:pt>
    <dgm:pt modelId="{E952F77D-7399-440D-8294-4A5D19E20954}" type="parTrans" cxnId="{4E8A97D6-92A7-4671-8726-D308007E135B}">
      <dgm:prSet/>
      <dgm:spPr/>
      <dgm:t>
        <a:bodyPr/>
        <a:lstStyle/>
        <a:p>
          <a:endParaRPr lang="en-US"/>
        </a:p>
      </dgm:t>
    </dgm:pt>
    <dgm:pt modelId="{304BF3CE-C540-482D-A2C1-7D97501E4941}" type="sibTrans" cxnId="{4E8A97D6-92A7-4671-8726-D308007E135B}">
      <dgm:prSet/>
      <dgm:spPr/>
      <dgm:t>
        <a:bodyPr/>
        <a:lstStyle/>
        <a:p>
          <a:pPr>
            <a:lnSpc>
              <a:spcPct val="100000"/>
            </a:lnSpc>
          </a:pPr>
          <a:endParaRPr lang="en-US"/>
        </a:p>
      </dgm:t>
    </dgm:pt>
    <dgm:pt modelId="{0FDDFEB1-D927-47A2-AFDF-0028D18AD175}">
      <dgm:prSet/>
      <dgm:spPr/>
      <dgm:t>
        <a:bodyPr/>
        <a:lstStyle/>
        <a:p>
          <a:pPr>
            <a:lnSpc>
              <a:spcPct val="100000"/>
            </a:lnSpc>
          </a:pPr>
          <a:r>
            <a:rPr lang="en-US" baseline="0"/>
            <a:t>Designed not to cause server problems</a:t>
          </a:r>
          <a:endParaRPr lang="en-US"/>
        </a:p>
      </dgm:t>
    </dgm:pt>
    <dgm:pt modelId="{022D10E1-C750-4BA0-A9D5-4F4D5A9D02A5}" type="parTrans" cxnId="{8B54D85F-63BA-4E3F-B79C-9FE04D107817}">
      <dgm:prSet/>
      <dgm:spPr/>
      <dgm:t>
        <a:bodyPr/>
        <a:lstStyle/>
        <a:p>
          <a:endParaRPr lang="en-US"/>
        </a:p>
      </dgm:t>
    </dgm:pt>
    <dgm:pt modelId="{8FCFBC71-58BF-4841-AB8E-693C20C67906}" type="sibTrans" cxnId="{8B54D85F-63BA-4E3F-B79C-9FE04D107817}">
      <dgm:prSet/>
      <dgm:spPr/>
      <dgm:t>
        <a:bodyPr/>
        <a:lstStyle/>
        <a:p>
          <a:pPr>
            <a:lnSpc>
              <a:spcPct val="100000"/>
            </a:lnSpc>
          </a:pPr>
          <a:endParaRPr lang="en-US"/>
        </a:p>
      </dgm:t>
    </dgm:pt>
    <dgm:pt modelId="{FB30EF4A-CE4A-4BEA-AB56-099B146B5EE1}">
      <dgm:prSet/>
      <dgm:spPr/>
      <dgm:t>
        <a:bodyPr/>
        <a:lstStyle/>
        <a:p>
          <a:pPr>
            <a:lnSpc>
              <a:spcPct val="100000"/>
            </a:lnSpc>
          </a:pPr>
          <a:r>
            <a:rPr lang="en-US" baseline="0"/>
            <a:t>More events than SQLTrace ever had</a:t>
          </a:r>
          <a:endParaRPr lang="en-US"/>
        </a:p>
      </dgm:t>
    </dgm:pt>
    <dgm:pt modelId="{C3206E3F-C716-4C19-B90F-A0C81181B3B6}" type="parTrans" cxnId="{1C10331F-8A0F-4F32-9F87-DFFB305102E4}">
      <dgm:prSet/>
      <dgm:spPr/>
      <dgm:t>
        <a:bodyPr/>
        <a:lstStyle/>
        <a:p>
          <a:endParaRPr lang="en-US"/>
        </a:p>
      </dgm:t>
    </dgm:pt>
    <dgm:pt modelId="{999C3345-2307-4ACC-9605-D966119030EF}" type="sibTrans" cxnId="{1C10331F-8A0F-4F32-9F87-DFFB305102E4}">
      <dgm:prSet/>
      <dgm:spPr/>
      <dgm:t>
        <a:bodyPr/>
        <a:lstStyle/>
        <a:p>
          <a:pPr>
            <a:lnSpc>
              <a:spcPct val="100000"/>
            </a:lnSpc>
          </a:pPr>
          <a:endParaRPr lang="en-US"/>
        </a:p>
      </dgm:t>
    </dgm:pt>
    <dgm:pt modelId="{F71C6831-A15E-42F6-A4C1-59765C88D453}">
      <dgm:prSet/>
      <dgm:spPr/>
      <dgm:t>
        <a:bodyPr/>
        <a:lstStyle/>
        <a:p>
          <a:pPr>
            <a:lnSpc>
              <a:spcPct val="100000"/>
            </a:lnSpc>
          </a:pPr>
          <a:r>
            <a:rPr lang="en-US" baseline="0"/>
            <a:t>Targets and actions make it powerful</a:t>
          </a:r>
          <a:endParaRPr lang="en-US"/>
        </a:p>
      </dgm:t>
    </dgm:pt>
    <dgm:pt modelId="{F50A478A-6061-4EA3-9C7D-CDB6F686DD81}" type="parTrans" cxnId="{1F4A4258-7C2F-485E-B563-2FB941602BC3}">
      <dgm:prSet/>
      <dgm:spPr/>
      <dgm:t>
        <a:bodyPr/>
        <a:lstStyle/>
        <a:p>
          <a:endParaRPr lang="en-US"/>
        </a:p>
      </dgm:t>
    </dgm:pt>
    <dgm:pt modelId="{5EF4A997-3E86-45E3-B113-51D5C1B94C7B}" type="sibTrans" cxnId="{1F4A4258-7C2F-485E-B563-2FB941602BC3}">
      <dgm:prSet/>
      <dgm:spPr/>
      <dgm:t>
        <a:bodyPr/>
        <a:lstStyle/>
        <a:p>
          <a:pPr>
            <a:lnSpc>
              <a:spcPct val="100000"/>
            </a:lnSpc>
          </a:pPr>
          <a:endParaRPr lang="en-US"/>
        </a:p>
      </dgm:t>
    </dgm:pt>
    <dgm:pt modelId="{F0F7E2C8-E7D2-4028-90A3-5C82C136383A}">
      <dgm:prSet/>
      <dgm:spPr/>
      <dgm:t>
        <a:bodyPr/>
        <a:lstStyle/>
        <a:p>
          <a:pPr>
            <a:lnSpc>
              <a:spcPct val="100000"/>
            </a:lnSpc>
          </a:pPr>
          <a:r>
            <a:rPr lang="en-US" baseline="0"/>
            <a:t>SSMS includes the basic UI tooling</a:t>
          </a:r>
          <a:endParaRPr lang="en-US"/>
        </a:p>
      </dgm:t>
    </dgm:pt>
    <dgm:pt modelId="{FA898259-38D4-46C2-88EA-3A06E71D446E}" type="parTrans" cxnId="{81064619-E3BA-4E63-A6AA-FC3A1AC54240}">
      <dgm:prSet/>
      <dgm:spPr/>
      <dgm:t>
        <a:bodyPr/>
        <a:lstStyle/>
        <a:p>
          <a:endParaRPr lang="en-US"/>
        </a:p>
      </dgm:t>
    </dgm:pt>
    <dgm:pt modelId="{27321D5A-AFE6-4975-9D7C-5C886A77D2E7}" type="sibTrans" cxnId="{81064619-E3BA-4E63-A6AA-FC3A1AC54240}">
      <dgm:prSet/>
      <dgm:spPr/>
      <dgm:t>
        <a:bodyPr/>
        <a:lstStyle/>
        <a:p>
          <a:endParaRPr lang="en-US"/>
        </a:p>
      </dgm:t>
    </dgm:pt>
    <dgm:pt modelId="{DE56AA09-97BF-4B4E-B27D-E61F8B4B0A57}" type="pres">
      <dgm:prSet presAssocID="{519189CD-C8EC-473D-9104-37CE9D533339}" presName="root" presStyleCnt="0">
        <dgm:presLayoutVars>
          <dgm:dir/>
          <dgm:resizeHandles val="exact"/>
        </dgm:presLayoutVars>
      </dgm:prSet>
      <dgm:spPr/>
    </dgm:pt>
    <dgm:pt modelId="{2CFDDDCA-492E-4904-8755-10CF196F132F}" type="pres">
      <dgm:prSet presAssocID="{519189CD-C8EC-473D-9104-37CE9D533339}" presName="container" presStyleCnt="0">
        <dgm:presLayoutVars>
          <dgm:dir/>
          <dgm:resizeHandles val="exact"/>
        </dgm:presLayoutVars>
      </dgm:prSet>
      <dgm:spPr/>
    </dgm:pt>
    <dgm:pt modelId="{A8BF27C4-93F7-49BD-A03E-50B92A00D817}" type="pres">
      <dgm:prSet presAssocID="{9547BFD9-94F3-4C62-9F06-AD37D0A50334}" presName="compNode" presStyleCnt="0"/>
      <dgm:spPr/>
    </dgm:pt>
    <dgm:pt modelId="{977811FF-8AD8-475C-8FAB-0BE9B2BB8C94}" type="pres">
      <dgm:prSet presAssocID="{9547BFD9-94F3-4C62-9F06-AD37D0A50334}" presName="iconBgRect" presStyleLbl="bgShp" presStyleIdx="0" presStyleCnt="6"/>
      <dgm:spPr/>
    </dgm:pt>
    <dgm:pt modelId="{8F155E28-775A-43EE-8BBE-91675175B13B}" type="pres">
      <dgm:prSet presAssocID="{9547BFD9-94F3-4C62-9F06-AD37D0A50334}"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Skeleton"/>
        </a:ext>
      </dgm:extLst>
    </dgm:pt>
    <dgm:pt modelId="{0B7B4AEC-4520-4364-8378-76EB59E1A13B}" type="pres">
      <dgm:prSet presAssocID="{9547BFD9-94F3-4C62-9F06-AD37D0A50334}" presName="spaceRect" presStyleCnt="0"/>
      <dgm:spPr/>
    </dgm:pt>
    <dgm:pt modelId="{47760EF8-E54E-4F0B-BA74-9FDC6E0F60EB}" type="pres">
      <dgm:prSet presAssocID="{9547BFD9-94F3-4C62-9F06-AD37D0A50334}" presName="textRect" presStyleLbl="revTx" presStyleIdx="0" presStyleCnt="6">
        <dgm:presLayoutVars>
          <dgm:chMax val="1"/>
          <dgm:chPref val="1"/>
        </dgm:presLayoutVars>
      </dgm:prSet>
      <dgm:spPr/>
    </dgm:pt>
    <dgm:pt modelId="{8AAA2ABC-A25E-4553-A3B3-8B07DC147917}" type="pres">
      <dgm:prSet presAssocID="{311FE131-A857-499C-B622-D816F5B062B0}" presName="sibTrans" presStyleLbl="sibTrans2D1" presStyleIdx="0" presStyleCnt="0"/>
      <dgm:spPr/>
    </dgm:pt>
    <dgm:pt modelId="{5FAFC8B1-F3F7-4736-A4E8-C7CE4E8ACABE}" type="pres">
      <dgm:prSet presAssocID="{99C33158-36B1-4E54-BC18-147081459373}" presName="compNode" presStyleCnt="0"/>
      <dgm:spPr/>
    </dgm:pt>
    <dgm:pt modelId="{067A103A-D156-4B23-A97F-AAC20E2B4911}" type="pres">
      <dgm:prSet presAssocID="{99C33158-36B1-4E54-BC18-147081459373}" presName="iconBgRect" presStyleLbl="bgShp" presStyleIdx="1" presStyleCnt="6"/>
      <dgm:spPr/>
    </dgm:pt>
    <dgm:pt modelId="{04BA976A-B349-4BB8-ABA5-B8040B76DBC4}" type="pres">
      <dgm:prSet presAssocID="{99C33158-36B1-4E54-BC18-147081459373}"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Gauge"/>
        </a:ext>
      </dgm:extLst>
    </dgm:pt>
    <dgm:pt modelId="{6F839199-3CB6-4810-A11C-E3CD285FED41}" type="pres">
      <dgm:prSet presAssocID="{99C33158-36B1-4E54-BC18-147081459373}" presName="spaceRect" presStyleCnt="0"/>
      <dgm:spPr/>
    </dgm:pt>
    <dgm:pt modelId="{CA6A7D29-3D3E-4F7C-BA25-471708901415}" type="pres">
      <dgm:prSet presAssocID="{99C33158-36B1-4E54-BC18-147081459373}" presName="textRect" presStyleLbl="revTx" presStyleIdx="1" presStyleCnt="6">
        <dgm:presLayoutVars>
          <dgm:chMax val="1"/>
          <dgm:chPref val="1"/>
        </dgm:presLayoutVars>
      </dgm:prSet>
      <dgm:spPr/>
    </dgm:pt>
    <dgm:pt modelId="{57D3BC77-6DDF-423D-AB61-9998E6C2601E}" type="pres">
      <dgm:prSet presAssocID="{304BF3CE-C540-482D-A2C1-7D97501E4941}" presName="sibTrans" presStyleLbl="sibTrans2D1" presStyleIdx="0" presStyleCnt="0"/>
      <dgm:spPr/>
    </dgm:pt>
    <dgm:pt modelId="{1FF4319D-0215-407B-B713-E011D8C0786C}" type="pres">
      <dgm:prSet presAssocID="{0FDDFEB1-D927-47A2-AFDF-0028D18AD175}" presName="compNode" presStyleCnt="0"/>
      <dgm:spPr/>
    </dgm:pt>
    <dgm:pt modelId="{20F8A85C-4232-4F81-8A6E-1B1D9D343755}" type="pres">
      <dgm:prSet presAssocID="{0FDDFEB1-D927-47A2-AFDF-0028D18AD175}" presName="iconBgRect" presStyleLbl="bgShp" presStyleIdx="2" presStyleCnt="6"/>
      <dgm:spPr/>
    </dgm:pt>
    <dgm:pt modelId="{DEB1337A-0B07-461E-9B9A-961B81F85320}" type="pres">
      <dgm:prSet presAssocID="{0FDDFEB1-D927-47A2-AFDF-0028D18AD175}"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Irritant"/>
        </a:ext>
      </dgm:extLst>
    </dgm:pt>
    <dgm:pt modelId="{5AAEC395-0B45-4F91-BF45-7879E4A86CC9}" type="pres">
      <dgm:prSet presAssocID="{0FDDFEB1-D927-47A2-AFDF-0028D18AD175}" presName="spaceRect" presStyleCnt="0"/>
      <dgm:spPr/>
    </dgm:pt>
    <dgm:pt modelId="{761CF27E-03BE-4828-914E-A6CC1F5AB723}" type="pres">
      <dgm:prSet presAssocID="{0FDDFEB1-D927-47A2-AFDF-0028D18AD175}" presName="textRect" presStyleLbl="revTx" presStyleIdx="2" presStyleCnt="6">
        <dgm:presLayoutVars>
          <dgm:chMax val="1"/>
          <dgm:chPref val="1"/>
        </dgm:presLayoutVars>
      </dgm:prSet>
      <dgm:spPr/>
    </dgm:pt>
    <dgm:pt modelId="{87DB6928-11CA-43E0-82F2-7B8BA5209C76}" type="pres">
      <dgm:prSet presAssocID="{8FCFBC71-58BF-4841-AB8E-693C20C67906}" presName="sibTrans" presStyleLbl="sibTrans2D1" presStyleIdx="0" presStyleCnt="0"/>
      <dgm:spPr/>
    </dgm:pt>
    <dgm:pt modelId="{A08A485E-3EE5-4B67-A832-7D436CA05947}" type="pres">
      <dgm:prSet presAssocID="{FB30EF4A-CE4A-4BEA-AB56-099B146B5EE1}" presName="compNode" presStyleCnt="0"/>
      <dgm:spPr/>
    </dgm:pt>
    <dgm:pt modelId="{1DEB93A4-3041-46FA-AEC4-BE32A39737F5}" type="pres">
      <dgm:prSet presAssocID="{FB30EF4A-CE4A-4BEA-AB56-099B146B5EE1}" presName="iconBgRect" presStyleLbl="bgShp" presStyleIdx="3" presStyleCnt="6"/>
      <dgm:spPr/>
    </dgm:pt>
    <dgm:pt modelId="{8A4F271F-DEB4-4804-8A05-4B079AA21236}" type="pres">
      <dgm:prSet presAssocID="{FB30EF4A-CE4A-4BEA-AB56-099B146B5EE1}"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Moustache Face with Solid Fill"/>
        </a:ext>
      </dgm:extLst>
    </dgm:pt>
    <dgm:pt modelId="{27653682-54A3-4092-B825-6F7C81154B6A}" type="pres">
      <dgm:prSet presAssocID="{FB30EF4A-CE4A-4BEA-AB56-099B146B5EE1}" presName="spaceRect" presStyleCnt="0"/>
      <dgm:spPr/>
    </dgm:pt>
    <dgm:pt modelId="{651FC311-B1B6-4928-92AE-4C86E2732B6C}" type="pres">
      <dgm:prSet presAssocID="{FB30EF4A-CE4A-4BEA-AB56-099B146B5EE1}" presName="textRect" presStyleLbl="revTx" presStyleIdx="3" presStyleCnt="6">
        <dgm:presLayoutVars>
          <dgm:chMax val="1"/>
          <dgm:chPref val="1"/>
        </dgm:presLayoutVars>
      </dgm:prSet>
      <dgm:spPr/>
    </dgm:pt>
    <dgm:pt modelId="{EF2D739C-5BFD-4BBE-BBC1-E2F4EEBE4E31}" type="pres">
      <dgm:prSet presAssocID="{999C3345-2307-4ACC-9605-D966119030EF}" presName="sibTrans" presStyleLbl="sibTrans2D1" presStyleIdx="0" presStyleCnt="0"/>
      <dgm:spPr/>
    </dgm:pt>
    <dgm:pt modelId="{12623709-81D5-4B33-83D3-CE2F711EA238}" type="pres">
      <dgm:prSet presAssocID="{F71C6831-A15E-42F6-A4C1-59765C88D453}" presName="compNode" presStyleCnt="0"/>
      <dgm:spPr/>
    </dgm:pt>
    <dgm:pt modelId="{E686D953-F507-4E7D-A8F8-54848291D6E9}" type="pres">
      <dgm:prSet presAssocID="{F71C6831-A15E-42F6-A4C1-59765C88D453}" presName="iconBgRect" presStyleLbl="bgShp" presStyleIdx="4" presStyleCnt="6"/>
      <dgm:spPr/>
    </dgm:pt>
    <dgm:pt modelId="{C1C428B0-A510-48C1-BDB2-43023CE9D084}" type="pres">
      <dgm:prSet presAssocID="{F71C6831-A15E-42F6-A4C1-59765C88D453}"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Target"/>
        </a:ext>
      </dgm:extLst>
    </dgm:pt>
    <dgm:pt modelId="{C99FF53B-C139-4E1D-AD4D-24582C474E5A}" type="pres">
      <dgm:prSet presAssocID="{F71C6831-A15E-42F6-A4C1-59765C88D453}" presName="spaceRect" presStyleCnt="0"/>
      <dgm:spPr/>
    </dgm:pt>
    <dgm:pt modelId="{9DAEB90A-B495-46DE-B3CE-50824583D9CB}" type="pres">
      <dgm:prSet presAssocID="{F71C6831-A15E-42F6-A4C1-59765C88D453}" presName="textRect" presStyleLbl="revTx" presStyleIdx="4" presStyleCnt="6">
        <dgm:presLayoutVars>
          <dgm:chMax val="1"/>
          <dgm:chPref val="1"/>
        </dgm:presLayoutVars>
      </dgm:prSet>
      <dgm:spPr/>
    </dgm:pt>
    <dgm:pt modelId="{A64E8F71-773F-445A-B6EB-908B2E4C41DA}" type="pres">
      <dgm:prSet presAssocID="{5EF4A997-3E86-45E3-B113-51D5C1B94C7B}" presName="sibTrans" presStyleLbl="sibTrans2D1" presStyleIdx="0" presStyleCnt="0"/>
      <dgm:spPr/>
    </dgm:pt>
    <dgm:pt modelId="{8BD7BAA8-9B1B-47E3-AB25-B6B8C6E7B758}" type="pres">
      <dgm:prSet presAssocID="{F0F7E2C8-E7D2-4028-90A3-5C82C136383A}" presName="compNode" presStyleCnt="0"/>
      <dgm:spPr/>
    </dgm:pt>
    <dgm:pt modelId="{E00817A4-30F7-4E53-90CF-58513AB05BC4}" type="pres">
      <dgm:prSet presAssocID="{F0F7E2C8-E7D2-4028-90A3-5C82C136383A}" presName="iconBgRect" presStyleLbl="bgShp" presStyleIdx="5" presStyleCnt="6"/>
      <dgm:spPr/>
    </dgm:pt>
    <dgm:pt modelId="{A87B1771-591B-4D30-AF28-14C483B47A79}" type="pres">
      <dgm:prSet presAssocID="{F0F7E2C8-E7D2-4028-90A3-5C82C136383A}"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Tools"/>
        </a:ext>
      </dgm:extLst>
    </dgm:pt>
    <dgm:pt modelId="{1815C65A-AF9A-44B0-AA08-CC79ED9A72EB}" type="pres">
      <dgm:prSet presAssocID="{F0F7E2C8-E7D2-4028-90A3-5C82C136383A}" presName="spaceRect" presStyleCnt="0"/>
      <dgm:spPr/>
    </dgm:pt>
    <dgm:pt modelId="{D4D79D97-C0D1-4D01-A68B-A0683101C85A}" type="pres">
      <dgm:prSet presAssocID="{F0F7E2C8-E7D2-4028-90A3-5C82C136383A}" presName="textRect" presStyleLbl="revTx" presStyleIdx="5" presStyleCnt="6">
        <dgm:presLayoutVars>
          <dgm:chMax val="1"/>
          <dgm:chPref val="1"/>
        </dgm:presLayoutVars>
      </dgm:prSet>
      <dgm:spPr/>
    </dgm:pt>
  </dgm:ptLst>
  <dgm:cxnLst>
    <dgm:cxn modelId="{81064619-E3BA-4E63-A6AA-FC3A1AC54240}" srcId="{519189CD-C8EC-473D-9104-37CE9D533339}" destId="{F0F7E2C8-E7D2-4028-90A3-5C82C136383A}" srcOrd="5" destOrd="0" parTransId="{FA898259-38D4-46C2-88EA-3A06E71D446E}" sibTransId="{27321D5A-AFE6-4975-9D7C-5C886A77D2E7}"/>
    <dgm:cxn modelId="{1C10331F-8A0F-4F32-9F87-DFFB305102E4}" srcId="{519189CD-C8EC-473D-9104-37CE9D533339}" destId="{FB30EF4A-CE4A-4BEA-AB56-099B146B5EE1}" srcOrd="3" destOrd="0" parTransId="{C3206E3F-C716-4C19-B90F-A0C81181B3B6}" sibTransId="{999C3345-2307-4ACC-9605-D966119030EF}"/>
    <dgm:cxn modelId="{8B54D85F-63BA-4E3F-B79C-9FE04D107817}" srcId="{519189CD-C8EC-473D-9104-37CE9D533339}" destId="{0FDDFEB1-D927-47A2-AFDF-0028D18AD175}" srcOrd="2" destOrd="0" parTransId="{022D10E1-C750-4BA0-A9D5-4F4D5A9D02A5}" sibTransId="{8FCFBC71-58BF-4841-AB8E-693C20C67906}"/>
    <dgm:cxn modelId="{DF4B9B71-2774-412B-AD52-172340AAC185}" type="presOf" srcId="{311FE131-A857-499C-B622-D816F5B062B0}" destId="{8AAA2ABC-A25E-4553-A3B3-8B07DC147917}" srcOrd="0" destOrd="0" presId="urn:microsoft.com/office/officeart/2018/2/layout/IconCircleList"/>
    <dgm:cxn modelId="{70C4E071-5831-42ED-83A9-640BC6BB1508}" type="presOf" srcId="{0FDDFEB1-D927-47A2-AFDF-0028D18AD175}" destId="{761CF27E-03BE-4828-914E-A6CC1F5AB723}" srcOrd="0" destOrd="0" presId="urn:microsoft.com/office/officeart/2018/2/layout/IconCircleList"/>
    <dgm:cxn modelId="{98108D73-68BB-4D05-9A9D-BBAE6CEA33DD}" type="presOf" srcId="{F71C6831-A15E-42F6-A4C1-59765C88D453}" destId="{9DAEB90A-B495-46DE-B3CE-50824583D9CB}" srcOrd="0" destOrd="0" presId="urn:microsoft.com/office/officeart/2018/2/layout/IconCircleList"/>
    <dgm:cxn modelId="{C708CA74-6595-4D0B-9164-9188C4EAA574}" type="presOf" srcId="{8FCFBC71-58BF-4841-AB8E-693C20C67906}" destId="{87DB6928-11CA-43E0-82F2-7B8BA5209C76}" srcOrd="0" destOrd="0" presId="urn:microsoft.com/office/officeart/2018/2/layout/IconCircleList"/>
    <dgm:cxn modelId="{1D7B5C55-1BE1-4F71-A2B9-E5FE114717B2}" type="presOf" srcId="{FB30EF4A-CE4A-4BEA-AB56-099B146B5EE1}" destId="{651FC311-B1B6-4928-92AE-4C86E2732B6C}" srcOrd="0" destOrd="0" presId="urn:microsoft.com/office/officeart/2018/2/layout/IconCircleList"/>
    <dgm:cxn modelId="{2C75F977-58C6-4800-852B-17368EFBB746}" type="presOf" srcId="{519189CD-C8EC-473D-9104-37CE9D533339}" destId="{DE56AA09-97BF-4B4E-B27D-E61F8B4B0A57}" srcOrd="0" destOrd="0" presId="urn:microsoft.com/office/officeart/2018/2/layout/IconCircleList"/>
    <dgm:cxn modelId="{1F4A4258-7C2F-485E-B563-2FB941602BC3}" srcId="{519189CD-C8EC-473D-9104-37CE9D533339}" destId="{F71C6831-A15E-42F6-A4C1-59765C88D453}" srcOrd="4" destOrd="0" parTransId="{F50A478A-6061-4EA3-9C7D-CDB6F686DD81}" sibTransId="{5EF4A997-3E86-45E3-B113-51D5C1B94C7B}"/>
    <dgm:cxn modelId="{DBD16E59-5360-4715-8321-8B6BF8FB1FAF}" type="presOf" srcId="{9547BFD9-94F3-4C62-9F06-AD37D0A50334}" destId="{47760EF8-E54E-4F0B-BA74-9FDC6E0F60EB}" srcOrd="0" destOrd="0" presId="urn:microsoft.com/office/officeart/2018/2/layout/IconCircleList"/>
    <dgm:cxn modelId="{90E1429D-C516-4D7D-9B08-F75ED475BD7A}" type="presOf" srcId="{304BF3CE-C540-482D-A2C1-7D97501E4941}" destId="{57D3BC77-6DDF-423D-AB61-9998E6C2601E}" srcOrd="0" destOrd="0" presId="urn:microsoft.com/office/officeart/2018/2/layout/IconCircleList"/>
    <dgm:cxn modelId="{7FAAFBAB-02C1-42B3-BDF3-809913BCD819}" srcId="{519189CD-C8EC-473D-9104-37CE9D533339}" destId="{9547BFD9-94F3-4C62-9F06-AD37D0A50334}" srcOrd="0" destOrd="0" parTransId="{C42E63C7-E057-4D34-BCF8-5575FBCBE54D}" sibTransId="{311FE131-A857-499C-B622-D816F5B062B0}"/>
    <dgm:cxn modelId="{0F4054D2-9918-4AE5-828B-FCFD113B63F8}" type="presOf" srcId="{999C3345-2307-4ACC-9605-D966119030EF}" destId="{EF2D739C-5BFD-4BBE-BBC1-E2F4EEBE4E31}" srcOrd="0" destOrd="0" presId="urn:microsoft.com/office/officeart/2018/2/layout/IconCircleList"/>
    <dgm:cxn modelId="{903F75D6-3AB1-4C69-85BC-5C1013CA0667}" type="presOf" srcId="{5EF4A997-3E86-45E3-B113-51D5C1B94C7B}" destId="{A64E8F71-773F-445A-B6EB-908B2E4C41DA}" srcOrd="0" destOrd="0" presId="urn:microsoft.com/office/officeart/2018/2/layout/IconCircleList"/>
    <dgm:cxn modelId="{4E8A97D6-92A7-4671-8726-D308007E135B}" srcId="{519189CD-C8EC-473D-9104-37CE9D533339}" destId="{99C33158-36B1-4E54-BC18-147081459373}" srcOrd="1" destOrd="0" parTransId="{E952F77D-7399-440D-8294-4A5D19E20954}" sibTransId="{304BF3CE-C540-482D-A2C1-7D97501E4941}"/>
    <dgm:cxn modelId="{1F8EF6EA-F00A-476D-BD52-249410F92BD8}" type="presOf" srcId="{99C33158-36B1-4E54-BC18-147081459373}" destId="{CA6A7D29-3D3E-4F7C-BA25-471708901415}" srcOrd="0" destOrd="0" presId="urn:microsoft.com/office/officeart/2018/2/layout/IconCircleList"/>
    <dgm:cxn modelId="{3B483EFD-8D9A-4262-A5DB-3E1E29779321}" type="presOf" srcId="{F0F7E2C8-E7D2-4028-90A3-5C82C136383A}" destId="{D4D79D97-C0D1-4D01-A68B-A0683101C85A}" srcOrd="0" destOrd="0" presId="urn:microsoft.com/office/officeart/2018/2/layout/IconCircleList"/>
    <dgm:cxn modelId="{8F1BECA9-CBD1-4CDD-ABA3-23F1AA6F9E9E}" type="presParOf" srcId="{DE56AA09-97BF-4B4E-B27D-E61F8B4B0A57}" destId="{2CFDDDCA-492E-4904-8755-10CF196F132F}" srcOrd="0" destOrd="0" presId="urn:microsoft.com/office/officeart/2018/2/layout/IconCircleList"/>
    <dgm:cxn modelId="{635056AD-5442-46C8-BBC7-2A7E937909B6}" type="presParOf" srcId="{2CFDDDCA-492E-4904-8755-10CF196F132F}" destId="{A8BF27C4-93F7-49BD-A03E-50B92A00D817}" srcOrd="0" destOrd="0" presId="urn:microsoft.com/office/officeart/2018/2/layout/IconCircleList"/>
    <dgm:cxn modelId="{F4C3D6FA-B740-4381-A090-E942C17BB966}" type="presParOf" srcId="{A8BF27C4-93F7-49BD-A03E-50B92A00D817}" destId="{977811FF-8AD8-475C-8FAB-0BE9B2BB8C94}" srcOrd="0" destOrd="0" presId="urn:microsoft.com/office/officeart/2018/2/layout/IconCircleList"/>
    <dgm:cxn modelId="{B4B8B0F2-4972-4BF5-84EE-DD07AA327FA2}" type="presParOf" srcId="{A8BF27C4-93F7-49BD-A03E-50B92A00D817}" destId="{8F155E28-775A-43EE-8BBE-91675175B13B}" srcOrd="1" destOrd="0" presId="urn:microsoft.com/office/officeart/2018/2/layout/IconCircleList"/>
    <dgm:cxn modelId="{C989B4AA-A99E-4A96-AAFB-A35DC91FB987}" type="presParOf" srcId="{A8BF27C4-93F7-49BD-A03E-50B92A00D817}" destId="{0B7B4AEC-4520-4364-8378-76EB59E1A13B}" srcOrd="2" destOrd="0" presId="urn:microsoft.com/office/officeart/2018/2/layout/IconCircleList"/>
    <dgm:cxn modelId="{C59B03F0-C1C9-4299-BC05-013080DABD31}" type="presParOf" srcId="{A8BF27C4-93F7-49BD-A03E-50B92A00D817}" destId="{47760EF8-E54E-4F0B-BA74-9FDC6E0F60EB}" srcOrd="3" destOrd="0" presId="urn:microsoft.com/office/officeart/2018/2/layout/IconCircleList"/>
    <dgm:cxn modelId="{C45F6B3B-1E1B-42F4-A50E-AC6E9DF6386F}" type="presParOf" srcId="{2CFDDDCA-492E-4904-8755-10CF196F132F}" destId="{8AAA2ABC-A25E-4553-A3B3-8B07DC147917}" srcOrd="1" destOrd="0" presId="urn:microsoft.com/office/officeart/2018/2/layout/IconCircleList"/>
    <dgm:cxn modelId="{78F42415-3E0E-48F5-81D8-F28D4B53CDB7}" type="presParOf" srcId="{2CFDDDCA-492E-4904-8755-10CF196F132F}" destId="{5FAFC8B1-F3F7-4736-A4E8-C7CE4E8ACABE}" srcOrd="2" destOrd="0" presId="urn:microsoft.com/office/officeart/2018/2/layout/IconCircleList"/>
    <dgm:cxn modelId="{92B347D4-43F7-4D09-9FF3-198B995783E6}" type="presParOf" srcId="{5FAFC8B1-F3F7-4736-A4E8-C7CE4E8ACABE}" destId="{067A103A-D156-4B23-A97F-AAC20E2B4911}" srcOrd="0" destOrd="0" presId="urn:microsoft.com/office/officeart/2018/2/layout/IconCircleList"/>
    <dgm:cxn modelId="{4AF01E75-21A1-45BD-A856-D2D66795150F}" type="presParOf" srcId="{5FAFC8B1-F3F7-4736-A4E8-C7CE4E8ACABE}" destId="{04BA976A-B349-4BB8-ABA5-B8040B76DBC4}" srcOrd="1" destOrd="0" presId="urn:microsoft.com/office/officeart/2018/2/layout/IconCircleList"/>
    <dgm:cxn modelId="{61D4D3CF-F458-4A26-8E63-735F2D96DFDF}" type="presParOf" srcId="{5FAFC8B1-F3F7-4736-A4E8-C7CE4E8ACABE}" destId="{6F839199-3CB6-4810-A11C-E3CD285FED41}" srcOrd="2" destOrd="0" presId="urn:microsoft.com/office/officeart/2018/2/layout/IconCircleList"/>
    <dgm:cxn modelId="{8C041F4A-D037-4E08-8394-01D1F2A88C53}" type="presParOf" srcId="{5FAFC8B1-F3F7-4736-A4E8-C7CE4E8ACABE}" destId="{CA6A7D29-3D3E-4F7C-BA25-471708901415}" srcOrd="3" destOrd="0" presId="urn:microsoft.com/office/officeart/2018/2/layout/IconCircleList"/>
    <dgm:cxn modelId="{156A993D-B8A2-460D-81AB-63EC1593F126}" type="presParOf" srcId="{2CFDDDCA-492E-4904-8755-10CF196F132F}" destId="{57D3BC77-6DDF-423D-AB61-9998E6C2601E}" srcOrd="3" destOrd="0" presId="urn:microsoft.com/office/officeart/2018/2/layout/IconCircleList"/>
    <dgm:cxn modelId="{964A322D-919A-4B25-951C-E80EFC92BA3F}" type="presParOf" srcId="{2CFDDDCA-492E-4904-8755-10CF196F132F}" destId="{1FF4319D-0215-407B-B713-E011D8C0786C}" srcOrd="4" destOrd="0" presId="urn:microsoft.com/office/officeart/2018/2/layout/IconCircleList"/>
    <dgm:cxn modelId="{7C6B4C2B-1DE0-49D6-ACEC-D8294BBFF37D}" type="presParOf" srcId="{1FF4319D-0215-407B-B713-E011D8C0786C}" destId="{20F8A85C-4232-4F81-8A6E-1B1D9D343755}" srcOrd="0" destOrd="0" presId="urn:microsoft.com/office/officeart/2018/2/layout/IconCircleList"/>
    <dgm:cxn modelId="{E1DBD8AA-5FE1-46D2-B1BD-49869AF59647}" type="presParOf" srcId="{1FF4319D-0215-407B-B713-E011D8C0786C}" destId="{DEB1337A-0B07-461E-9B9A-961B81F85320}" srcOrd="1" destOrd="0" presId="urn:microsoft.com/office/officeart/2018/2/layout/IconCircleList"/>
    <dgm:cxn modelId="{D4C57369-D63F-4B50-82D2-DBA72F5CF87F}" type="presParOf" srcId="{1FF4319D-0215-407B-B713-E011D8C0786C}" destId="{5AAEC395-0B45-4F91-BF45-7879E4A86CC9}" srcOrd="2" destOrd="0" presId="urn:microsoft.com/office/officeart/2018/2/layout/IconCircleList"/>
    <dgm:cxn modelId="{B14A6DA8-720F-47CA-9376-F159929253C9}" type="presParOf" srcId="{1FF4319D-0215-407B-B713-E011D8C0786C}" destId="{761CF27E-03BE-4828-914E-A6CC1F5AB723}" srcOrd="3" destOrd="0" presId="urn:microsoft.com/office/officeart/2018/2/layout/IconCircleList"/>
    <dgm:cxn modelId="{7889960E-7E45-4F6A-AB73-70FDD17F89F1}" type="presParOf" srcId="{2CFDDDCA-492E-4904-8755-10CF196F132F}" destId="{87DB6928-11CA-43E0-82F2-7B8BA5209C76}" srcOrd="5" destOrd="0" presId="urn:microsoft.com/office/officeart/2018/2/layout/IconCircleList"/>
    <dgm:cxn modelId="{B3653428-12B6-4548-BEA3-AC1AA4523A0D}" type="presParOf" srcId="{2CFDDDCA-492E-4904-8755-10CF196F132F}" destId="{A08A485E-3EE5-4B67-A832-7D436CA05947}" srcOrd="6" destOrd="0" presId="urn:microsoft.com/office/officeart/2018/2/layout/IconCircleList"/>
    <dgm:cxn modelId="{1EA47012-86D1-495C-ADDC-262DA54E6135}" type="presParOf" srcId="{A08A485E-3EE5-4B67-A832-7D436CA05947}" destId="{1DEB93A4-3041-46FA-AEC4-BE32A39737F5}" srcOrd="0" destOrd="0" presId="urn:microsoft.com/office/officeart/2018/2/layout/IconCircleList"/>
    <dgm:cxn modelId="{2B855639-CF3E-4CFD-8231-7C9DDED9A4EB}" type="presParOf" srcId="{A08A485E-3EE5-4B67-A832-7D436CA05947}" destId="{8A4F271F-DEB4-4804-8A05-4B079AA21236}" srcOrd="1" destOrd="0" presId="urn:microsoft.com/office/officeart/2018/2/layout/IconCircleList"/>
    <dgm:cxn modelId="{901BA565-3B65-401E-8A9A-E3A0355E2A8A}" type="presParOf" srcId="{A08A485E-3EE5-4B67-A832-7D436CA05947}" destId="{27653682-54A3-4092-B825-6F7C81154B6A}" srcOrd="2" destOrd="0" presId="urn:microsoft.com/office/officeart/2018/2/layout/IconCircleList"/>
    <dgm:cxn modelId="{AAADBC16-54A6-40E2-8D8A-DCC10C202CA2}" type="presParOf" srcId="{A08A485E-3EE5-4B67-A832-7D436CA05947}" destId="{651FC311-B1B6-4928-92AE-4C86E2732B6C}" srcOrd="3" destOrd="0" presId="urn:microsoft.com/office/officeart/2018/2/layout/IconCircleList"/>
    <dgm:cxn modelId="{41B402E0-71FB-4EDB-9166-B05901D6A2D8}" type="presParOf" srcId="{2CFDDDCA-492E-4904-8755-10CF196F132F}" destId="{EF2D739C-5BFD-4BBE-BBC1-E2F4EEBE4E31}" srcOrd="7" destOrd="0" presId="urn:microsoft.com/office/officeart/2018/2/layout/IconCircleList"/>
    <dgm:cxn modelId="{0C8134D5-D71D-40BE-B899-E78D11AA83EB}" type="presParOf" srcId="{2CFDDDCA-492E-4904-8755-10CF196F132F}" destId="{12623709-81D5-4B33-83D3-CE2F711EA238}" srcOrd="8" destOrd="0" presId="urn:microsoft.com/office/officeart/2018/2/layout/IconCircleList"/>
    <dgm:cxn modelId="{7286F835-36AB-438F-9EBB-189E5B06741D}" type="presParOf" srcId="{12623709-81D5-4B33-83D3-CE2F711EA238}" destId="{E686D953-F507-4E7D-A8F8-54848291D6E9}" srcOrd="0" destOrd="0" presId="urn:microsoft.com/office/officeart/2018/2/layout/IconCircleList"/>
    <dgm:cxn modelId="{5901E2E8-FACB-4223-8CFD-3B5B94E6628F}" type="presParOf" srcId="{12623709-81D5-4B33-83D3-CE2F711EA238}" destId="{C1C428B0-A510-48C1-BDB2-43023CE9D084}" srcOrd="1" destOrd="0" presId="urn:microsoft.com/office/officeart/2018/2/layout/IconCircleList"/>
    <dgm:cxn modelId="{0DB01075-1ACE-4793-93D8-77CE517AE255}" type="presParOf" srcId="{12623709-81D5-4B33-83D3-CE2F711EA238}" destId="{C99FF53B-C139-4E1D-AD4D-24582C474E5A}" srcOrd="2" destOrd="0" presId="urn:microsoft.com/office/officeart/2018/2/layout/IconCircleList"/>
    <dgm:cxn modelId="{48DD753B-0964-4C4B-ABCE-3F41B8247A0C}" type="presParOf" srcId="{12623709-81D5-4B33-83D3-CE2F711EA238}" destId="{9DAEB90A-B495-46DE-B3CE-50824583D9CB}" srcOrd="3" destOrd="0" presId="urn:microsoft.com/office/officeart/2018/2/layout/IconCircleList"/>
    <dgm:cxn modelId="{A32431EF-F66A-4F26-8D07-5CCB907AB575}" type="presParOf" srcId="{2CFDDDCA-492E-4904-8755-10CF196F132F}" destId="{A64E8F71-773F-445A-B6EB-908B2E4C41DA}" srcOrd="9" destOrd="0" presId="urn:microsoft.com/office/officeart/2018/2/layout/IconCircleList"/>
    <dgm:cxn modelId="{388BAC8E-6DDC-45CB-8694-B86F80C0FCF6}" type="presParOf" srcId="{2CFDDDCA-492E-4904-8755-10CF196F132F}" destId="{8BD7BAA8-9B1B-47E3-AB25-B6B8C6E7B758}" srcOrd="10" destOrd="0" presId="urn:microsoft.com/office/officeart/2018/2/layout/IconCircleList"/>
    <dgm:cxn modelId="{AEB6435F-3C61-4D5C-864F-237BA8D9B2B6}" type="presParOf" srcId="{8BD7BAA8-9B1B-47E3-AB25-B6B8C6E7B758}" destId="{E00817A4-30F7-4E53-90CF-58513AB05BC4}" srcOrd="0" destOrd="0" presId="urn:microsoft.com/office/officeart/2018/2/layout/IconCircleList"/>
    <dgm:cxn modelId="{B1B54D20-F62F-45E6-881B-6384EB1596D1}" type="presParOf" srcId="{8BD7BAA8-9B1B-47E3-AB25-B6B8C6E7B758}" destId="{A87B1771-591B-4D30-AF28-14C483B47A79}" srcOrd="1" destOrd="0" presId="urn:microsoft.com/office/officeart/2018/2/layout/IconCircleList"/>
    <dgm:cxn modelId="{E16BE119-B867-42A3-AB89-115835119EE6}" type="presParOf" srcId="{8BD7BAA8-9B1B-47E3-AB25-B6B8C6E7B758}" destId="{1815C65A-AF9A-44B0-AA08-CC79ED9A72EB}" srcOrd="2" destOrd="0" presId="urn:microsoft.com/office/officeart/2018/2/layout/IconCircleList"/>
    <dgm:cxn modelId="{D136958E-7655-45A0-AA07-6BF38B50E8BA}" type="presParOf" srcId="{8BD7BAA8-9B1B-47E3-AB25-B6B8C6E7B758}" destId="{D4D79D97-C0D1-4D01-A68B-A0683101C85A}"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9A68258-4BEF-4DC7-9C15-18213443E098}" type="doc">
      <dgm:prSet loTypeId="urn:microsoft.com/office/officeart/2005/8/layout/default" loCatId="list" qsTypeId="urn:microsoft.com/office/officeart/2005/8/quickstyle/simple2" qsCatId="simple" csTypeId="urn:microsoft.com/office/officeart/2005/8/colors/accent1_2" csCatId="accent1"/>
      <dgm:spPr/>
      <dgm:t>
        <a:bodyPr/>
        <a:lstStyle/>
        <a:p>
          <a:endParaRPr lang="en-US"/>
        </a:p>
      </dgm:t>
    </dgm:pt>
    <dgm:pt modelId="{8BBA0E07-49BE-4658-BDFB-1119AFA17A53}">
      <dgm:prSet custT="1"/>
      <dgm:spPr/>
      <dgm:t>
        <a:bodyPr/>
        <a:lstStyle/>
        <a:p>
          <a:r>
            <a:rPr lang="en-US" sz="2400" baseline="0" dirty="0"/>
            <a:t>Query Performance Insight</a:t>
          </a:r>
          <a:endParaRPr lang="en-US" sz="2400" dirty="0"/>
        </a:p>
      </dgm:t>
    </dgm:pt>
    <dgm:pt modelId="{1984525B-436F-4774-8A51-CE27859185C2}" type="parTrans" cxnId="{AA199319-33A3-4DF0-94E5-9DD71B054658}">
      <dgm:prSet/>
      <dgm:spPr/>
      <dgm:t>
        <a:bodyPr/>
        <a:lstStyle/>
        <a:p>
          <a:endParaRPr lang="en-US"/>
        </a:p>
      </dgm:t>
    </dgm:pt>
    <dgm:pt modelId="{6B7D3474-19BC-49F8-A5B7-4D6712085F47}" type="sibTrans" cxnId="{AA199319-33A3-4DF0-94E5-9DD71B054658}">
      <dgm:prSet/>
      <dgm:spPr/>
      <dgm:t>
        <a:bodyPr/>
        <a:lstStyle/>
        <a:p>
          <a:endParaRPr lang="en-US"/>
        </a:p>
      </dgm:t>
    </dgm:pt>
    <dgm:pt modelId="{336D70ED-24F3-4250-B7CB-C49901A93A03}">
      <dgm:prSet custT="1"/>
      <dgm:spPr/>
      <dgm:t>
        <a:bodyPr/>
        <a:lstStyle/>
        <a:p>
          <a:r>
            <a:rPr lang="en-US" sz="2400" baseline="0" dirty="0"/>
            <a:t>Automatic Tuning</a:t>
          </a:r>
          <a:endParaRPr lang="en-US" sz="2400" dirty="0"/>
        </a:p>
      </dgm:t>
    </dgm:pt>
    <dgm:pt modelId="{38F883F5-00A8-47E9-A65E-93091A2B14A6}" type="parTrans" cxnId="{E91E13B5-3930-4A59-B98C-B3F3BAEA76E3}">
      <dgm:prSet/>
      <dgm:spPr/>
      <dgm:t>
        <a:bodyPr/>
        <a:lstStyle/>
        <a:p>
          <a:endParaRPr lang="en-US"/>
        </a:p>
      </dgm:t>
    </dgm:pt>
    <dgm:pt modelId="{31285B96-6824-4146-9095-AAC45E5DEEF8}" type="sibTrans" cxnId="{E91E13B5-3930-4A59-B98C-B3F3BAEA76E3}">
      <dgm:prSet/>
      <dgm:spPr/>
      <dgm:t>
        <a:bodyPr/>
        <a:lstStyle/>
        <a:p>
          <a:endParaRPr lang="en-US"/>
        </a:p>
      </dgm:t>
    </dgm:pt>
    <dgm:pt modelId="{AB7761A4-2C42-4A90-B938-1FDDC7CF907E}">
      <dgm:prSet custT="1"/>
      <dgm:spPr/>
      <dgm:t>
        <a:bodyPr/>
        <a:lstStyle/>
        <a:p>
          <a:r>
            <a:rPr lang="en-US" sz="2400" baseline="0" dirty="0"/>
            <a:t>Intelligent Insights</a:t>
          </a:r>
          <a:endParaRPr lang="en-US" sz="2400" dirty="0"/>
        </a:p>
      </dgm:t>
    </dgm:pt>
    <dgm:pt modelId="{20E87E7E-ED9A-4B2C-A202-81A981ECDBE2}" type="parTrans" cxnId="{2C36423F-CDA2-4179-B1E1-557E08D51F1C}">
      <dgm:prSet/>
      <dgm:spPr/>
      <dgm:t>
        <a:bodyPr/>
        <a:lstStyle/>
        <a:p>
          <a:endParaRPr lang="en-US"/>
        </a:p>
      </dgm:t>
    </dgm:pt>
    <dgm:pt modelId="{303AED38-EB55-4D25-B497-D4F2D1E00601}" type="sibTrans" cxnId="{2C36423F-CDA2-4179-B1E1-557E08D51F1C}">
      <dgm:prSet/>
      <dgm:spPr/>
      <dgm:t>
        <a:bodyPr/>
        <a:lstStyle/>
        <a:p>
          <a:endParaRPr lang="en-US"/>
        </a:p>
      </dgm:t>
    </dgm:pt>
    <dgm:pt modelId="{7ED19A32-9B58-4F72-AA1C-DF4A599F6336}">
      <dgm:prSet custT="1"/>
      <dgm:spPr/>
      <dgm:t>
        <a:bodyPr/>
        <a:lstStyle/>
        <a:p>
          <a:r>
            <a:rPr lang="en-US" sz="2400" baseline="0" dirty="0"/>
            <a:t>Extended Events</a:t>
          </a:r>
          <a:endParaRPr lang="en-US" sz="2400" dirty="0"/>
        </a:p>
      </dgm:t>
    </dgm:pt>
    <dgm:pt modelId="{02DB96AD-F047-4645-8D75-B6DF7574B20A}" type="parTrans" cxnId="{5172B86D-3A45-4728-A0C6-3CD74DE1B268}">
      <dgm:prSet/>
      <dgm:spPr/>
      <dgm:t>
        <a:bodyPr/>
        <a:lstStyle/>
        <a:p>
          <a:endParaRPr lang="en-US"/>
        </a:p>
      </dgm:t>
    </dgm:pt>
    <dgm:pt modelId="{BE213075-3DAB-44E9-8250-13EED7AC6D6F}" type="sibTrans" cxnId="{5172B86D-3A45-4728-A0C6-3CD74DE1B268}">
      <dgm:prSet/>
      <dgm:spPr/>
      <dgm:t>
        <a:bodyPr/>
        <a:lstStyle/>
        <a:p>
          <a:endParaRPr lang="en-US"/>
        </a:p>
      </dgm:t>
    </dgm:pt>
    <dgm:pt modelId="{BDDD7BF4-370A-4535-AA24-E69F42808D28}">
      <dgm:prSet custT="1"/>
      <dgm:spPr/>
      <dgm:t>
        <a:bodyPr/>
        <a:lstStyle/>
        <a:p>
          <a:r>
            <a:rPr lang="en-US" sz="2400" baseline="0" dirty="0"/>
            <a:t>Dynamic Management Views (DMVs)</a:t>
          </a:r>
          <a:endParaRPr lang="en-US" sz="2400" dirty="0"/>
        </a:p>
      </dgm:t>
    </dgm:pt>
    <dgm:pt modelId="{4DB4DEF7-AC54-4F17-B524-DDC02922822E}" type="parTrans" cxnId="{D9AD5D7D-7841-4102-99BA-26AD6D4DD12D}">
      <dgm:prSet/>
      <dgm:spPr/>
      <dgm:t>
        <a:bodyPr/>
        <a:lstStyle/>
        <a:p>
          <a:endParaRPr lang="en-US"/>
        </a:p>
      </dgm:t>
    </dgm:pt>
    <dgm:pt modelId="{D54CE452-A551-434B-8F59-C0B528F15A32}" type="sibTrans" cxnId="{D9AD5D7D-7841-4102-99BA-26AD6D4DD12D}">
      <dgm:prSet/>
      <dgm:spPr/>
      <dgm:t>
        <a:bodyPr/>
        <a:lstStyle/>
        <a:p>
          <a:endParaRPr lang="en-US"/>
        </a:p>
      </dgm:t>
    </dgm:pt>
    <dgm:pt modelId="{3EF767E6-E84F-4C21-9364-DA9232C1314E}">
      <dgm:prSet custT="1"/>
      <dgm:spPr/>
      <dgm:t>
        <a:bodyPr/>
        <a:lstStyle/>
        <a:p>
          <a:r>
            <a:rPr lang="en-US" sz="2400" baseline="0" dirty="0"/>
            <a:t>Azure Database Portal Dashboard</a:t>
          </a:r>
          <a:endParaRPr lang="en-US" sz="2400" dirty="0"/>
        </a:p>
      </dgm:t>
    </dgm:pt>
    <dgm:pt modelId="{879DB7FA-3C31-46AC-B505-F0F00359FE40}" type="parTrans" cxnId="{24FA64A5-1F4E-45D2-A27C-D5D150068893}">
      <dgm:prSet/>
      <dgm:spPr/>
      <dgm:t>
        <a:bodyPr/>
        <a:lstStyle/>
        <a:p>
          <a:endParaRPr lang="en-US"/>
        </a:p>
      </dgm:t>
    </dgm:pt>
    <dgm:pt modelId="{7924DB1F-AA17-4C71-9EBA-24294F0F5CA6}" type="sibTrans" cxnId="{24FA64A5-1F4E-45D2-A27C-D5D150068893}">
      <dgm:prSet/>
      <dgm:spPr/>
      <dgm:t>
        <a:bodyPr/>
        <a:lstStyle/>
        <a:p>
          <a:endParaRPr lang="en-US"/>
        </a:p>
      </dgm:t>
    </dgm:pt>
    <dgm:pt modelId="{8CDD67AF-7399-448D-98CB-136424BBC68B}" type="pres">
      <dgm:prSet presAssocID="{C9A68258-4BEF-4DC7-9C15-18213443E098}" presName="diagram" presStyleCnt="0">
        <dgm:presLayoutVars>
          <dgm:dir/>
          <dgm:resizeHandles val="exact"/>
        </dgm:presLayoutVars>
      </dgm:prSet>
      <dgm:spPr/>
    </dgm:pt>
    <dgm:pt modelId="{C90B9E45-5C65-4B33-BDAD-AD64DEB6AEB3}" type="pres">
      <dgm:prSet presAssocID="{8BBA0E07-49BE-4658-BDFB-1119AFA17A53}" presName="node" presStyleLbl="node1" presStyleIdx="0" presStyleCnt="6">
        <dgm:presLayoutVars>
          <dgm:bulletEnabled val="1"/>
        </dgm:presLayoutVars>
      </dgm:prSet>
      <dgm:spPr/>
    </dgm:pt>
    <dgm:pt modelId="{A09C3A97-127E-444A-B901-3A4E6F78C9F6}" type="pres">
      <dgm:prSet presAssocID="{6B7D3474-19BC-49F8-A5B7-4D6712085F47}" presName="sibTrans" presStyleCnt="0"/>
      <dgm:spPr/>
    </dgm:pt>
    <dgm:pt modelId="{159B3F54-F78F-49D5-8168-66BCBCC4F024}" type="pres">
      <dgm:prSet presAssocID="{336D70ED-24F3-4250-B7CB-C49901A93A03}" presName="node" presStyleLbl="node1" presStyleIdx="1" presStyleCnt="6">
        <dgm:presLayoutVars>
          <dgm:bulletEnabled val="1"/>
        </dgm:presLayoutVars>
      </dgm:prSet>
      <dgm:spPr/>
    </dgm:pt>
    <dgm:pt modelId="{4A48AF75-CA9C-4688-81A2-A03C871EB152}" type="pres">
      <dgm:prSet presAssocID="{31285B96-6824-4146-9095-AAC45E5DEEF8}" presName="sibTrans" presStyleCnt="0"/>
      <dgm:spPr/>
    </dgm:pt>
    <dgm:pt modelId="{BC4616A9-3AEB-4983-8205-873F8F416D40}" type="pres">
      <dgm:prSet presAssocID="{AB7761A4-2C42-4A90-B938-1FDDC7CF907E}" presName="node" presStyleLbl="node1" presStyleIdx="2" presStyleCnt="6">
        <dgm:presLayoutVars>
          <dgm:bulletEnabled val="1"/>
        </dgm:presLayoutVars>
      </dgm:prSet>
      <dgm:spPr/>
    </dgm:pt>
    <dgm:pt modelId="{210CB66D-450E-4BB4-A6CD-CAD5467A9A04}" type="pres">
      <dgm:prSet presAssocID="{303AED38-EB55-4D25-B497-D4F2D1E00601}" presName="sibTrans" presStyleCnt="0"/>
      <dgm:spPr/>
    </dgm:pt>
    <dgm:pt modelId="{619AA22D-AA01-4F5B-B719-95177629AAA9}" type="pres">
      <dgm:prSet presAssocID="{7ED19A32-9B58-4F72-AA1C-DF4A599F6336}" presName="node" presStyleLbl="node1" presStyleIdx="3" presStyleCnt="6">
        <dgm:presLayoutVars>
          <dgm:bulletEnabled val="1"/>
        </dgm:presLayoutVars>
      </dgm:prSet>
      <dgm:spPr/>
    </dgm:pt>
    <dgm:pt modelId="{BE13FFB7-EA55-44AA-B7E5-8A24FBF3ABBB}" type="pres">
      <dgm:prSet presAssocID="{BE213075-3DAB-44E9-8250-13EED7AC6D6F}" presName="sibTrans" presStyleCnt="0"/>
      <dgm:spPr/>
    </dgm:pt>
    <dgm:pt modelId="{C843A49D-5ECB-4DF0-AA63-25A488D88F59}" type="pres">
      <dgm:prSet presAssocID="{BDDD7BF4-370A-4535-AA24-E69F42808D28}" presName="node" presStyleLbl="node1" presStyleIdx="4" presStyleCnt="6">
        <dgm:presLayoutVars>
          <dgm:bulletEnabled val="1"/>
        </dgm:presLayoutVars>
      </dgm:prSet>
      <dgm:spPr/>
    </dgm:pt>
    <dgm:pt modelId="{E010A6B2-7F62-4F95-8887-E5A8B8617921}" type="pres">
      <dgm:prSet presAssocID="{D54CE452-A551-434B-8F59-C0B528F15A32}" presName="sibTrans" presStyleCnt="0"/>
      <dgm:spPr/>
    </dgm:pt>
    <dgm:pt modelId="{92BD9CE9-BA16-426E-A4DE-AB23AEA98095}" type="pres">
      <dgm:prSet presAssocID="{3EF767E6-E84F-4C21-9364-DA9232C1314E}" presName="node" presStyleLbl="node1" presStyleIdx="5" presStyleCnt="6">
        <dgm:presLayoutVars>
          <dgm:bulletEnabled val="1"/>
        </dgm:presLayoutVars>
      </dgm:prSet>
      <dgm:spPr/>
    </dgm:pt>
  </dgm:ptLst>
  <dgm:cxnLst>
    <dgm:cxn modelId="{70A85D12-A2B0-48D2-A47E-EAB342BBBEAC}" type="presOf" srcId="{8BBA0E07-49BE-4658-BDFB-1119AFA17A53}" destId="{C90B9E45-5C65-4B33-BDAD-AD64DEB6AEB3}" srcOrd="0" destOrd="0" presId="urn:microsoft.com/office/officeart/2005/8/layout/default"/>
    <dgm:cxn modelId="{32A89817-8F3D-4572-9D96-D99812690A18}" type="presOf" srcId="{AB7761A4-2C42-4A90-B938-1FDDC7CF907E}" destId="{BC4616A9-3AEB-4983-8205-873F8F416D40}" srcOrd="0" destOrd="0" presId="urn:microsoft.com/office/officeart/2005/8/layout/default"/>
    <dgm:cxn modelId="{AA199319-33A3-4DF0-94E5-9DD71B054658}" srcId="{C9A68258-4BEF-4DC7-9C15-18213443E098}" destId="{8BBA0E07-49BE-4658-BDFB-1119AFA17A53}" srcOrd="0" destOrd="0" parTransId="{1984525B-436F-4774-8A51-CE27859185C2}" sibTransId="{6B7D3474-19BC-49F8-A5B7-4D6712085F47}"/>
    <dgm:cxn modelId="{F3FC021E-2D14-4A01-AA0B-82AE5B05BF0B}" type="presOf" srcId="{C9A68258-4BEF-4DC7-9C15-18213443E098}" destId="{8CDD67AF-7399-448D-98CB-136424BBC68B}" srcOrd="0" destOrd="0" presId="urn:microsoft.com/office/officeart/2005/8/layout/default"/>
    <dgm:cxn modelId="{2C36423F-CDA2-4179-B1E1-557E08D51F1C}" srcId="{C9A68258-4BEF-4DC7-9C15-18213443E098}" destId="{AB7761A4-2C42-4A90-B938-1FDDC7CF907E}" srcOrd="2" destOrd="0" parTransId="{20E87E7E-ED9A-4B2C-A202-81A981ECDBE2}" sibTransId="{303AED38-EB55-4D25-B497-D4F2D1E00601}"/>
    <dgm:cxn modelId="{5172B86D-3A45-4728-A0C6-3CD74DE1B268}" srcId="{C9A68258-4BEF-4DC7-9C15-18213443E098}" destId="{7ED19A32-9B58-4F72-AA1C-DF4A599F6336}" srcOrd="3" destOrd="0" parTransId="{02DB96AD-F047-4645-8D75-B6DF7574B20A}" sibTransId="{BE213075-3DAB-44E9-8250-13EED7AC6D6F}"/>
    <dgm:cxn modelId="{D9AD5D7D-7841-4102-99BA-26AD6D4DD12D}" srcId="{C9A68258-4BEF-4DC7-9C15-18213443E098}" destId="{BDDD7BF4-370A-4535-AA24-E69F42808D28}" srcOrd="4" destOrd="0" parTransId="{4DB4DEF7-AC54-4F17-B524-DDC02922822E}" sibTransId="{D54CE452-A551-434B-8F59-C0B528F15A32}"/>
    <dgm:cxn modelId="{E00A908F-97B3-484C-BA07-BD5741C1A4B6}" type="presOf" srcId="{336D70ED-24F3-4250-B7CB-C49901A93A03}" destId="{159B3F54-F78F-49D5-8168-66BCBCC4F024}" srcOrd="0" destOrd="0" presId="urn:microsoft.com/office/officeart/2005/8/layout/default"/>
    <dgm:cxn modelId="{24FA64A5-1F4E-45D2-A27C-D5D150068893}" srcId="{C9A68258-4BEF-4DC7-9C15-18213443E098}" destId="{3EF767E6-E84F-4C21-9364-DA9232C1314E}" srcOrd="5" destOrd="0" parTransId="{879DB7FA-3C31-46AC-B505-F0F00359FE40}" sibTransId="{7924DB1F-AA17-4C71-9EBA-24294F0F5CA6}"/>
    <dgm:cxn modelId="{2A2A19B2-6C76-4324-911C-1465562D4445}" type="presOf" srcId="{3EF767E6-E84F-4C21-9364-DA9232C1314E}" destId="{92BD9CE9-BA16-426E-A4DE-AB23AEA98095}" srcOrd="0" destOrd="0" presId="urn:microsoft.com/office/officeart/2005/8/layout/default"/>
    <dgm:cxn modelId="{E91E13B5-3930-4A59-B98C-B3F3BAEA76E3}" srcId="{C9A68258-4BEF-4DC7-9C15-18213443E098}" destId="{336D70ED-24F3-4250-B7CB-C49901A93A03}" srcOrd="1" destOrd="0" parTransId="{38F883F5-00A8-47E9-A65E-93091A2B14A6}" sibTransId="{31285B96-6824-4146-9095-AAC45E5DEEF8}"/>
    <dgm:cxn modelId="{B7A586E3-BA5F-45E2-847E-18D1C91BFC29}" type="presOf" srcId="{7ED19A32-9B58-4F72-AA1C-DF4A599F6336}" destId="{619AA22D-AA01-4F5B-B719-95177629AAA9}" srcOrd="0" destOrd="0" presId="urn:microsoft.com/office/officeart/2005/8/layout/default"/>
    <dgm:cxn modelId="{58E442EE-8D06-41F6-9507-0BBC279684FF}" type="presOf" srcId="{BDDD7BF4-370A-4535-AA24-E69F42808D28}" destId="{C843A49D-5ECB-4DF0-AA63-25A488D88F59}" srcOrd="0" destOrd="0" presId="urn:microsoft.com/office/officeart/2005/8/layout/default"/>
    <dgm:cxn modelId="{47333EE4-B9CF-442C-8916-59B8C6F06207}" type="presParOf" srcId="{8CDD67AF-7399-448D-98CB-136424BBC68B}" destId="{C90B9E45-5C65-4B33-BDAD-AD64DEB6AEB3}" srcOrd="0" destOrd="0" presId="urn:microsoft.com/office/officeart/2005/8/layout/default"/>
    <dgm:cxn modelId="{41BDA171-830F-41A4-9A09-A25149056DAE}" type="presParOf" srcId="{8CDD67AF-7399-448D-98CB-136424BBC68B}" destId="{A09C3A97-127E-444A-B901-3A4E6F78C9F6}" srcOrd="1" destOrd="0" presId="urn:microsoft.com/office/officeart/2005/8/layout/default"/>
    <dgm:cxn modelId="{96FCC861-7D14-4C48-ACC9-A75B38563DA6}" type="presParOf" srcId="{8CDD67AF-7399-448D-98CB-136424BBC68B}" destId="{159B3F54-F78F-49D5-8168-66BCBCC4F024}" srcOrd="2" destOrd="0" presId="urn:microsoft.com/office/officeart/2005/8/layout/default"/>
    <dgm:cxn modelId="{0A57508F-34BE-4351-AC42-97E58B639092}" type="presParOf" srcId="{8CDD67AF-7399-448D-98CB-136424BBC68B}" destId="{4A48AF75-CA9C-4688-81A2-A03C871EB152}" srcOrd="3" destOrd="0" presId="urn:microsoft.com/office/officeart/2005/8/layout/default"/>
    <dgm:cxn modelId="{0D291B30-3415-4D52-BB30-22EEF3B222A5}" type="presParOf" srcId="{8CDD67AF-7399-448D-98CB-136424BBC68B}" destId="{BC4616A9-3AEB-4983-8205-873F8F416D40}" srcOrd="4" destOrd="0" presId="urn:microsoft.com/office/officeart/2005/8/layout/default"/>
    <dgm:cxn modelId="{5F4AE84E-ECE7-44B6-938A-5AC98D2CDAF3}" type="presParOf" srcId="{8CDD67AF-7399-448D-98CB-136424BBC68B}" destId="{210CB66D-450E-4BB4-A6CD-CAD5467A9A04}" srcOrd="5" destOrd="0" presId="urn:microsoft.com/office/officeart/2005/8/layout/default"/>
    <dgm:cxn modelId="{3C4E1553-4EBA-4E45-A2D9-641469D09857}" type="presParOf" srcId="{8CDD67AF-7399-448D-98CB-136424BBC68B}" destId="{619AA22D-AA01-4F5B-B719-95177629AAA9}" srcOrd="6" destOrd="0" presId="urn:microsoft.com/office/officeart/2005/8/layout/default"/>
    <dgm:cxn modelId="{9C7BE7CB-00A7-4118-97C1-2A29D4ED27D3}" type="presParOf" srcId="{8CDD67AF-7399-448D-98CB-136424BBC68B}" destId="{BE13FFB7-EA55-44AA-B7E5-8A24FBF3ABBB}" srcOrd="7" destOrd="0" presId="urn:microsoft.com/office/officeart/2005/8/layout/default"/>
    <dgm:cxn modelId="{4CABFAA7-5AB0-465F-BACD-7B3BB494E1D1}" type="presParOf" srcId="{8CDD67AF-7399-448D-98CB-136424BBC68B}" destId="{C843A49D-5ECB-4DF0-AA63-25A488D88F59}" srcOrd="8" destOrd="0" presId="urn:microsoft.com/office/officeart/2005/8/layout/default"/>
    <dgm:cxn modelId="{FE361CEF-61D7-47E3-94E6-B952292255C3}" type="presParOf" srcId="{8CDD67AF-7399-448D-98CB-136424BBC68B}" destId="{E010A6B2-7F62-4F95-8887-E5A8B8617921}" srcOrd="9" destOrd="0" presId="urn:microsoft.com/office/officeart/2005/8/layout/default"/>
    <dgm:cxn modelId="{1BFCFBC1-4DB6-4E08-BB25-8979233AF8E5}" type="presParOf" srcId="{8CDD67AF-7399-448D-98CB-136424BBC68B}" destId="{92BD9CE9-BA16-426E-A4DE-AB23AEA98095}"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07C82360-EDAF-4113-87AF-24C21C5721C5}" type="doc">
      <dgm:prSet loTypeId="urn:microsoft.com/office/officeart/2005/8/layout/vList5" loCatId="list" qsTypeId="urn:microsoft.com/office/officeart/2005/8/quickstyle/simple1" qsCatId="simple" csTypeId="urn:microsoft.com/office/officeart/2005/8/colors/accent1_2" csCatId="accent1"/>
      <dgm:spPr/>
      <dgm:t>
        <a:bodyPr/>
        <a:lstStyle/>
        <a:p>
          <a:endParaRPr lang="en-US"/>
        </a:p>
      </dgm:t>
    </dgm:pt>
    <dgm:pt modelId="{EE725E86-2A93-4F75-A1D5-62D5FE3A4D3F}">
      <dgm:prSet/>
      <dgm:spPr/>
      <dgm:t>
        <a:bodyPr/>
        <a:lstStyle/>
        <a:p>
          <a:r>
            <a:rPr lang="en-US" baseline="0"/>
            <a:t>Event</a:t>
          </a:r>
          <a:endParaRPr lang="en-US"/>
        </a:p>
      </dgm:t>
    </dgm:pt>
    <dgm:pt modelId="{0CF4CAC6-855F-4080-80D6-BA88D6D2FA4E}" type="parTrans" cxnId="{EDC3BD23-4B38-4043-BF42-AE5D9AEA3D4B}">
      <dgm:prSet/>
      <dgm:spPr/>
      <dgm:t>
        <a:bodyPr/>
        <a:lstStyle/>
        <a:p>
          <a:endParaRPr lang="en-US"/>
        </a:p>
      </dgm:t>
    </dgm:pt>
    <dgm:pt modelId="{90A1DA2F-1ABE-4896-B480-61DA11FEDFC7}" type="sibTrans" cxnId="{EDC3BD23-4B38-4043-BF42-AE5D9AEA3D4B}">
      <dgm:prSet/>
      <dgm:spPr/>
      <dgm:t>
        <a:bodyPr/>
        <a:lstStyle/>
        <a:p>
          <a:endParaRPr lang="en-US"/>
        </a:p>
      </dgm:t>
    </dgm:pt>
    <dgm:pt modelId="{6FA0E280-779E-40CD-ADED-81515EDBB53F}">
      <dgm:prSet/>
      <dgm:spPr/>
      <dgm:t>
        <a:bodyPr/>
        <a:lstStyle/>
        <a:p>
          <a:r>
            <a:rPr lang="en-US" baseline="0" dirty="0"/>
            <a:t>Predefined instrumentation points in the code.</a:t>
          </a:r>
          <a:endParaRPr lang="en-US" dirty="0"/>
        </a:p>
      </dgm:t>
    </dgm:pt>
    <dgm:pt modelId="{00D91013-D6F7-4EE8-9ACE-EBEF1D234A18}" type="parTrans" cxnId="{BA5D937F-0E48-4838-B02D-A8E8EDD63AA0}">
      <dgm:prSet/>
      <dgm:spPr/>
      <dgm:t>
        <a:bodyPr/>
        <a:lstStyle/>
        <a:p>
          <a:endParaRPr lang="en-US"/>
        </a:p>
      </dgm:t>
    </dgm:pt>
    <dgm:pt modelId="{3D1862EA-12ED-4BED-A96A-085077B90469}" type="sibTrans" cxnId="{BA5D937F-0E48-4838-B02D-A8E8EDD63AA0}">
      <dgm:prSet/>
      <dgm:spPr/>
      <dgm:t>
        <a:bodyPr/>
        <a:lstStyle/>
        <a:p>
          <a:endParaRPr lang="en-US"/>
        </a:p>
      </dgm:t>
    </dgm:pt>
    <dgm:pt modelId="{BC41CD85-E817-4BEC-B29F-53F5A8B70FE4}">
      <dgm:prSet/>
      <dgm:spPr/>
      <dgm:t>
        <a:bodyPr/>
        <a:lstStyle/>
        <a:p>
          <a:r>
            <a:rPr lang="en-US" baseline="0" dirty="0"/>
            <a:t>Actions</a:t>
          </a:r>
          <a:endParaRPr lang="en-US" dirty="0"/>
        </a:p>
      </dgm:t>
    </dgm:pt>
    <dgm:pt modelId="{E351A05F-5547-46C5-949F-014A6807E88A}" type="parTrans" cxnId="{A76C5DFE-9CCE-477E-8F31-20C948A0EA0C}">
      <dgm:prSet/>
      <dgm:spPr/>
      <dgm:t>
        <a:bodyPr/>
        <a:lstStyle/>
        <a:p>
          <a:endParaRPr lang="en-US"/>
        </a:p>
      </dgm:t>
    </dgm:pt>
    <dgm:pt modelId="{39C2A009-5C57-468E-817E-86C89DC84538}" type="sibTrans" cxnId="{A76C5DFE-9CCE-477E-8F31-20C948A0EA0C}">
      <dgm:prSet/>
      <dgm:spPr/>
      <dgm:t>
        <a:bodyPr/>
        <a:lstStyle/>
        <a:p>
          <a:endParaRPr lang="en-US"/>
        </a:p>
      </dgm:t>
    </dgm:pt>
    <dgm:pt modelId="{B82A7C54-BD69-4AF5-9858-822AB65AF867}">
      <dgm:prSet/>
      <dgm:spPr/>
      <dgm:t>
        <a:bodyPr/>
        <a:lstStyle/>
        <a:p>
          <a:r>
            <a:rPr lang="en-US" baseline="0"/>
            <a:t>Event independent data to add to the collection.</a:t>
          </a:r>
          <a:endParaRPr lang="en-US"/>
        </a:p>
      </dgm:t>
    </dgm:pt>
    <dgm:pt modelId="{B764270E-F43D-441F-B59B-E6DFD5A94B7F}" type="parTrans" cxnId="{18DA1271-C561-4AC3-83EC-E905976DDCEB}">
      <dgm:prSet/>
      <dgm:spPr/>
      <dgm:t>
        <a:bodyPr/>
        <a:lstStyle/>
        <a:p>
          <a:endParaRPr lang="en-US"/>
        </a:p>
      </dgm:t>
    </dgm:pt>
    <dgm:pt modelId="{12F06DBB-C2A1-4E6F-ACFC-8BD9355BC871}" type="sibTrans" cxnId="{18DA1271-C561-4AC3-83EC-E905976DDCEB}">
      <dgm:prSet/>
      <dgm:spPr/>
      <dgm:t>
        <a:bodyPr/>
        <a:lstStyle/>
        <a:p>
          <a:endParaRPr lang="en-US"/>
        </a:p>
      </dgm:t>
    </dgm:pt>
    <dgm:pt modelId="{6344F9A8-C0C9-405A-A1C8-CB8F215ED6B9}">
      <dgm:prSet/>
      <dgm:spPr/>
      <dgm:t>
        <a:bodyPr/>
        <a:lstStyle/>
        <a:p>
          <a:r>
            <a:rPr lang="en-US" baseline="0"/>
            <a:t>For example: sql_text, create_dump_all_threads</a:t>
          </a:r>
          <a:endParaRPr lang="en-US"/>
        </a:p>
      </dgm:t>
    </dgm:pt>
    <dgm:pt modelId="{251FB970-243D-4349-B2ED-6DBDAC73570B}" type="parTrans" cxnId="{2C53920B-82AC-422A-9CD4-FF11FE87B205}">
      <dgm:prSet/>
      <dgm:spPr/>
      <dgm:t>
        <a:bodyPr/>
        <a:lstStyle/>
        <a:p>
          <a:endParaRPr lang="en-US"/>
        </a:p>
      </dgm:t>
    </dgm:pt>
    <dgm:pt modelId="{66BBA542-6486-4D64-8B43-030185FEBE86}" type="sibTrans" cxnId="{2C53920B-82AC-422A-9CD4-FF11FE87B205}">
      <dgm:prSet/>
      <dgm:spPr/>
      <dgm:t>
        <a:bodyPr/>
        <a:lstStyle/>
        <a:p>
          <a:endParaRPr lang="en-US"/>
        </a:p>
      </dgm:t>
    </dgm:pt>
    <dgm:pt modelId="{603355EC-83FE-4933-8F56-E73CDB8835D3}">
      <dgm:prSet/>
      <dgm:spPr/>
      <dgm:t>
        <a:bodyPr/>
        <a:lstStyle/>
        <a:p>
          <a:r>
            <a:rPr lang="en-US" baseline="0"/>
            <a:t>Predicates</a:t>
          </a:r>
          <a:endParaRPr lang="en-US"/>
        </a:p>
      </dgm:t>
    </dgm:pt>
    <dgm:pt modelId="{8E5F1B2F-6848-4C0D-846A-9F87FE65D8A2}" type="parTrans" cxnId="{6BC1E6F2-AB44-40DB-BD88-97FA18C38AE9}">
      <dgm:prSet/>
      <dgm:spPr/>
      <dgm:t>
        <a:bodyPr/>
        <a:lstStyle/>
        <a:p>
          <a:endParaRPr lang="en-US"/>
        </a:p>
      </dgm:t>
    </dgm:pt>
    <dgm:pt modelId="{315489C6-5D60-453A-891A-35B55894D0C8}" type="sibTrans" cxnId="{6BC1E6F2-AB44-40DB-BD88-97FA18C38AE9}">
      <dgm:prSet/>
      <dgm:spPr/>
      <dgm:t>
        <a:bodyPr/>
        <a:lstStyle/>
        <a:p>
          <a:endParaRPr lang="en-US"/>
        </a:p>
      </dgm:t>
    </dgm:pt>
    <dgm:pt modelId="{8C739715-6873-4DA3-B4F3-DA06464655F4}">
      <dgm:prSet/>
      <dgm:spPr/>
      <dgm:t>
        <a:bodyPr/>
        <a:lstStyle/>
        <a:p>
          <a:r>
            <a:rPr lang="en-US" baseline="0"/>
            <a:t>Independent fields for filtering.</a:t>
          </a:r>
          <a:endParaRPr lang="en-US"/>
        </a:p>
      </dgm:t>
    </dgm:pt>
    <dgm:pt modelId="{59844659-31EC-446E-AF76-738DBFD57397}" type="parTrans" cxnId="{19EE6EE6-5221-4979-8BDC-D43E2557CD64}">
      <dgm:prSet/>
      <dgm:spPr/>
      <dgm:t>
        <a:bodyPr/>
        <a:lstStyle/>
        <a:p>
          <a:endParaRPr lang="en-US"/>
        </a:p>
      </dgm:t>
    </dgm:pt>
    <dgm:pt modelId="{0FEDA959-8394-4DA3-AE46-31A108D0F879}" type="sibTrans" cxnId="{19EE6EE6-5221-4979-8BDC-D43E2557CD64}">
      <dgm:prSet/>
      <dgm:spPr/>
      <dgm:t>
        <a:bodyPr/>
        <a:lstStyle/>
        <a:p>
          <a:endParaRPr lang="en-US"/>
        </a:p>
      </dgm:t>
    </dgm:pt>
    <dgm:pt modelId="{83666A86-2C1C-4CBD-A667-BD98871E3697}">
      <dgm:prSet/>
      <dgm:spPr/>
      <dgm:t>
        <a:bodyPr/>
        <a:lstStyle/>
        <a:p>
          <a:r>
            <a:rPr lang="en-US" baseline="0"/>
            <a:t>For example: database_id, session_id</a:t>
          </a:r>
          <a:endParaRPr lang="en-US"/>
        </a:p>
      </dgm:t>
    </dgm:pt>
    <dgm:pt modelId="{1DFB4A3E-9D5C-4B4D-BC92-1A5F5BA22B6D}" type="parTrans" cxnId="{4A6AAB26-1CE6-4C24-A370-FC5904449363}">
      <dgm:prSet/>
      <dgm:spPr/>
      <dgm:t>
        <a:bodyPr/>
        <a:lstStyle/>
        <a:p>
          <a:endParaRPr lang="en-US"/>
        </a:p>
      </dgm:t>
    </dgm:pt>
    <dgm:pt modelId="{C0C60AC1-C7AE-4A99-9A5D-6FF6B658DEAE}" type="sibTrans" cxnId="{4A6AAB26-1CE6-4C24-A370-FC5904449363}">
      <dgm:prSet/>
      <dgm:spPr/>
      <dgm:t>
        <a:bodyPr/>
        <a:lstStyle/>
        <a:p>
          <a:endParaRPr lang="en-US"/>
        </a:p>
      </dgm:t>
    </dgm:pt>
    <dgm:pt modelId="{4C8C0B88-52C0-4706-A374-86394021D6FE}">
      <dgm:prSet/>
      <dgm:spPr/>
      <dgm:t>
        <a:bodyPr/>
        <a:lstStyle/>
        <a:p>
          <a:r>
            <a:rPr lang="en-US" baseline="0"/>
            <a:t>Targets</a:t>
          </a:r>
          <a:endParaRPr lang="en-US"/>
        </a:p>
      </dgm:t>
    </dgm:pt>
    <dgm:pt modelId="{703E6587-BD19-4997-AC19-E7145573CAF9}" type="parTrans" cxnId="{10C2C6B0-3157-4855-9382-B2DAD8ED7726}">
      <dgm:prSet/>
      <dgm:spPr/>
      <dgm:t>
        <a:bodyPr/>
        <a:lstStyle/>
        <a:p>
          <a:endParaRPr lang="en-US"/>
        </a:p>
      </dgm:t>
    </dgm:pt>
    <dgm:pt modelId="{26A0B72E-21AF-4336-964B-2A053BE9E04A}" type="sibTrans" cxnId="{10C2C6B0-3157-4855-9382-B2DAD8ED7726}">
      <dgm:prSet/>
      <dgm:spPr/>
      <dgm:t>
        <a:bodyPr/>
        <a:lstStyle/>
        <a:p>
          <a:endParaRPr lang="en-US"/>
        </a:p>
      </dgm:t>
    </dgm:pt>
    <dgm:pt modelId="{384A12E1-22A2-4632-969E-9C3052ED8BB3}">
      <dgm:prSet/>
      <dgm:spPr/>
      <dgm:t>
        <a:bodyPr/>
        <a:lstStyle/>
        <a:p>
          <a:r>
            <a:rPr lang="en-US" baseline="0"/>
            <a:t>Ring Buffer, Event Counter, Event File</a:t>
          </a:r>
          <a:endParaRPr lang="en-US"/>
        </a:p>
      </dgm:t>
    </dgm:pt>
    <dgm:pt modelId="{67D68D89-D4ED-4B5B-AF9C-110306440B2D}" type="parTrans" cxnId="{671BE8DA-60C1-4C78-AC4D-3E04FBBE2DA0}">
      <dgm:prSet/>
      <dgm:spPr/>
      <dgm:t>
        <a:bodyPr/>
        <a:lstStyle/>
        <a:p>
          <a:endParaRPr lang="en-US"/>
        </a:p>
      </dgm:t>
    </dgm:pt>
    <dgm:pt modelId="{B889A5EE-4189-49DA-BDDC-161F305C8BE1}" type="sibTrans" cxnId="{671BE8DA-60C1-4C78-AC4D-3E04FBBE2DA0}">
      <dgm:prSet/>
      <dgm:spPr/>
      <dgm:t>
        <a:bodyPr/>
        <a:lstStyle/>
        <a:p>
          <a:endParaRPr lang="en-US"/>
        </a:p>
      </dgm:t>
    </dgm:pt>
    <dgm:pt modelId="{2ED037A7-B3CB-4273-8BBA-57BF4704087B}">
      <dgm:prSet/>
      <dgm:spPr/>
      <dgm:t>
        <a:bodyPr/>
        <a:lstStyle/>
        <a:p>
          <a:r>
            <a:rPr lang="en-US" baseline="0"/>
            <a:t>Maps</a:t>
          </a:r>
          <a:endParaRPr lang="en-US"/>
        </a:p>
      </dgm:t>
    </dgm:pt>
    <dgm:pt modelId="{AA93B410-F46D-49E0-8083-66BCE6AA7C95}" type="parTrans" cxnId="{1A16E8C2-1EF0-47E8-A49B-A19FFF102559}">
      <dgm:prSet/>
      <dgm:spPr/>
      <dgm:t>
        <a:bodyPr/>
        <a:lstStyle/>
        <a:p>
          <a:endParaRPr lang="en-US"/>
        </a:p>
      </dgm:t>
    </dgm:pt>
    <dgm:pt modelId="{CEC7C17B-F510-404F-A344-E56D5F2541E0}" type="sibTrans" cxnId="{1A16E8C2-1EF0-47E8-A49B-A19FFF102559}">
      <dgm:prSet/>
      <dgm:spPr/>
      <dgm:t>
        <a:bodyPr/>
        <a:lstStyle/>
        <a:p>
          <a:endParaRPr lang="en-US"/>
        </a:p>
      </dgm:t>
    </dgm:pt>
    <dgm:pt modelId="{17D7E1C7-18DD-4D5E-A9EC-F0987CAA6DFE}">
      <dgm:prSet/>
      <dgm:spPr/>
      <dgm:t>
        <a:bodyPr/>
        <a:lstStyle/>
        <a:p>
          <a:r>
            <a:rPr lang="en-US" baseline="0"/>
            <a:t>Maps “codes” to meaningful names.</a:t>
          </a:r>
          <a:endParaRPr lang="en-US"/>
        </a:p>
      </dgm:t>
    </dgm:pt>
    <dgm:pt modelId="{48905511-1728-47F5-A876-8DC136D83E79}" type="parTrans" cxnId="{1FE010CF-7595-4F86-8D5B-9D7371848CF7}">
      <dgm:prSet/>
      <dgm:spPr/>
      <dgm:t>
        <a:bodyPr/>
        <a:lstStyle/>
        <a:p>
          <a:endParaRPr lang="en-US"/>
        </a:p>
      </dgm:t>
    </dgm:pt>
    <dgm:pt modelId="{E8FBC2D7-DF6A-46FB-9AB4-56B7B00227AF}" type="sibTrans" cxnId="{1FE010CF-7595-4F86-8D5B-9D7371848CF7}">
      <dgm:prSet/>
      <dgm:spPr/>
      <dgm:t>
        <a:bodyPr/>
        <a:lstStyle/>
        <a:p>
          <a:endParaRPr lang="en-US"/>
        </a:p>
      </dgm:t>
    </dgm:pt>
    <dgm:pt modelId="{6359A37D-964F-4802-A6CE-1A95DBD7DA06}">
      <dgm:prSet/>
      <dgm:spPr/>
      <dgm:t>
        <a:bodyPr/>
        <a:lstStyle/>
        <a:p>
          <a:r>
            <a:rPr lang="en-US" baseline="0"/>
            <a:t>For example: wait_type</a:t>
          </a:r>
          <a:endParaRPr lang="en-US"/>
        </a:p>
      </dgm:t>
    </dgm:pt>
    <dgm:pt modelId="{5977D8EB-A6E2-4F7A-9609-F10F869A9A80}" type="parTrans" cxnId="{B1FF7BF8-3AC8-4529-94D5-1D523AB0E6A6}">
      <dgm:prSet/>
      <dgm:spPr/>
      <dgm:t>
        <a:bodyPr/>
        <a:lstStyle/>
        <a:p>
          <a:endParaRPr lang="en-US"/>
        </a:p>
      </dgm:t>
    </dgm:pt>
    <dgm:pt modelId="{6847F1D1-C55E-4BC3-867B-5F3AF47E5DE2}" type="sibTrans" cxnId="{B1FF7BF8-3AC8-4529-94D5-1D523AB0E6A6}">
      <dgm:prSet/>
      <dgm:spPr/>
      <dgm:t>
        <a:bodyPr/>
        <a:lstStyle/>
        <a:p>
          <a:endParaRPr lang="en-US"/>
        </a:p>
      </dgm:t>
    </dgm:pt>
    <dgm:pt modelId="{B3F71597-1938-4FAC-8E83-7A2F58F8BC65}" type="pres">
      <dgm:prSet presAssocID="{07C82360-EDAF-4113-87AF-24C21C5721C5}" presName="Name0" presStyleCnt="0">
        <dgm:presLayoutVars>
          <dgm:dir/>
          <dgm:animLvl val="lvl"/>
          <dgm:resizeHandles val="exact"/>
        </dgm:presLayoutVars>
      </dgm:prSet>
      <dgm:spPr/>
    </dgm:pt>
    <dgm:pt modelId="{CDDB6FA6-D4C6-438B-87C9-D6675ED079A6}" type="pres">
      <dgm:prSet presAssocID="{EE725E86-2A93-4F75-A1D5-62D5FE3A4D3F}" presName="linNode" presStyleCnt="0"/>
      <dgm:spPr/>
    </dgm:pt>
    <dgm:pt modelId="{7DC9B0B9-578B-4B8D-ACD8-F16982B4490A}" type="pres">
      <dgm:prSet presAssocID="{EE725E86-2A93-4F75-A1D5-62D5FE3A4D3F}" presName="parentText" presStyleLbl="node1" presStyleIdx="0" presStyleCnt="5">
        <dgm:presLayoutVars>
          <dgm:chMax val="1"/>
          <dgm:bulletEnabled val="1"/>
        </dgm:presLayoutVars>
      </dgm:prSet>
      <dgm:spPr/>
    </dgm:pt>
    <dgm:pt modelId="{640279C1-7D69-49D8-9188-918F69126F58}" type="pres">
      <dgm:prSet presAssocID="{EE725E86-2A93-4F75-A1D5-62D5FE3A4D3F}" presName="descendantText" presStyleLbl="alignAccFollowNode1" presStyleIdx="0" presStyleCnt="5">
        <dgm:presLayoutVars>
          <dgm:bulletEnabled val="1"/>
        </dgm:presLayoutVars>
      </dgm:prSet>
      <dgm:spPr/>
    </dgm:pt>
    <dgm:pt modelId="{F5641EBF-0F75-4EA9-9213-E78BB291C605}" type="pres">
      <dgm:prSet presAssocID="{90A1DA2F-1ABE-4896-B480-61DA11FEDFC7}" presName="sp" presStyleCnt="0"/>
      <dgm:spPr/>
    </dgm:pt>
    <dgm:pt modelId="{E43D801B-141E-4F37-806C-F4B08FA59087}" type="pres">
      <dgm:prSet presAssocID="{BC41CD85-E817-4BEC-B29F-53F5A8B70FE4}" presName="linNode" presStyleCnt="0"/>
      <dgm:spPr/>
    </dgm:pt>
    <dgm:pt modelId="{9C1F4515-A98C-48F3-B780-C1D6F149BBAB}" type="pres">
      <dgm:prSet presAssocID="{BC41CD85-E817-4BEC-B29F-53F5A8B70FE4}" presName="parentText" presStyleLbl="node1" presStyleIdx="1" presStyleCnt="5">
        <dgm:presLayoutVars>
          <dgm:chMax val="1"/>
          <dgm:bulletEnabled val="1"/>
        </dgm:presLayoutVars>
      </dgm:prSet>
      <dgm:spPr/>
    </dgm:pt>
    <dgm:pt modelId="{D1B1B053-A6BC-48DB-953D-6F5EF07BFE05}" type="pres">
      <dgm:prSet presAssocID="{BC41CD85-E817-4BEC-B29F-53F5A8B70FE4}" presName="descendantText" presStyleLbl="alignAccFollowNode1" presStyleIdx="1" presStyleCnt="5">
        <dgm:presLayoutVars>
          <dgm:bulletEnabled val="1"/>
        </dgm:presLayoutVars>
      </dgm:prSet>
      <dgm:spPr/>
    </dgm:pt>
    <dgm:pt modelId="{11EA9430-BCF8-4AC0-B188-EB3F2017DEBE}" type="pres">
      <dgm:prSet presAssocID="{39C2A009-5C57-468E-817E-86C89DC84538}" presName="sp" presStyleCnt="0"/>
      <dgm:spPr/>
    </dgm:pt>
    <dgm:pt modelId="{BEDF9A54-D7DD-4E93-ADEA-F837D3F2B802}" type="pres">
      <dgm:prSet presAssocID="{603355EC-83FE-4933-8F56-E73CDB8835D3}" presName="linNode" presStyleCnt="0"/>
      <dgm:spPr/>
    </dgm:pt>
    <dgm:pt modelId="{4C0021D0-AC09-453B-8070-E7D22D0D7636}" type="pres">
      <dgm:prSet presAssocID="{603355EC-83FE-4933-8F56-E73CDB8835D3}" presName="parentText" presStyleLbl="node1" presStyleIdx="2" presStyleCnt="5">
        <dgm:presLayoutVars>
          <dgm:chMax val="1"/>
          <dgm:bulletEnabled val="1"/>
        </dgm:presLayoutVars>
      </dgm:prSet>
      <dgm:spPr/>
    </dgm:pt>
    <dgm:pt modelId="{63F27776-0098-4289-B877-8ABC13B38A1B}" type="pres">
      <dgm:prSet presAssocID="{603355EC-83FE-4933-8F56-E73CDB8835D3}" presName="descendantText" presStyleLbl="alignAccFollowNode1" presStyleIdx="2" presStyleCnt="5">
        <dgm:presLayoutVars>
          <dgm:bulletEnabled val="1"/>
        </dgm:presLayoutVars>
      </dgm:prSet>
      <dgm:spPr/>
    </dgm:pt>
    <dgm:pt modelId="{42866D2B-08FF-435E-BD88-F2E8EBC83E76}" type="pres">
      <dgm:prSet presAssocID="{315489C6-5D60-453A-891A-35B55894D0C8}" presName="sp" presStyleCnt="0"/>
      <dgm:spPr/>
    </dgm:pt>
    <dgm:pt modelId="{A41227C0-1006-48D6-A275-650D54E8D0BB}" type="pres">
      <dgm:prSet presAssocID="{4C8C0B88-52C0-4706-A374-86394021D6FE}" presName="linNode" presStyleCnt="0"/>
      <dgm:spPr/>
    </dgm:pt>
    <dgm:pt modelId="{723C69E9-DD1F-4802-B5D1-DAD24A0B732A}" type="pres">
      <dgm:prSet presAssocID="{4C8C0B88-52C0-4706-A374-86394021D6FE}" presName="parentText" presStyleLbl="node1" presStyleIdx="3" presStyleCnt="5">
        <dgm:presLayoutVars>
          <dgm:chMax val="1"/>
          <dgm:bulletEnabled val="1"/>
        </dgm:presLayoutVars>
      </dgm:prSet>
      <dgm:spPr/>
    </dgm:pt>
    <dgm:pt modelId="{E0204C3B-AF99-4527-B5A8-E300522B13AF}" type="pres">
      <dgm:prSet presAssocID="{4C8C0B88-52C0-4706-A374-86394021D6FE}" presName="descendantText" presStyleLbl="alignAccFollowNode1" presStyleIdx="3" presStyleCnt="5">
        <dgm:presLayoutVars>
          <dgm:bulletEnabled val="1"/>
        </dgm:presLayoutVars>
      </dgm:prSet>
      <dgm:spPr/>
    </dgm:pt>
    <dgm:pt modelId="{0E6EB6A6-C292-4AB4-82ED-9133887A7BFC}" type="pres">
      <dgm:prSet presAssocID="{26A0B72E-21AF-4336-964B-2A053BE9E04A}" presName="sp" presStyleCnt="0"/>
      <dgm:spPr/>
    </dgm:pt>
    <dgm:pt modelId="{8CE3AF84-047E-47D3-ABE7-092E1118B378}" type="pres">
      <dgm:prSet presAssocID="{2ED037A7-B3CB-4273-8BBA-57BF4704087B}" presName="linNode" presStyleCnt="0"/>
      <dgm:spPr/>
    </dgm:pt>
    <dgm:pt modelId="{568908A0-9C4D-432B-AEAC-C5FBCD6697BA}" type="pres">
      <dgm:prSet presAssocID="{2ED037A7-B3CB-4273-8BBA-57BF4704087B}" presName="parentText" presStyleLbl="node1" presStyleIdx="4" presStyleCnt="5">
        <dgm:presLayoutVars>
          <dgm:chMax val="1"/>
          <dgm:bulletEnabled val="1"/>
        </dgm:presLayoutVars>
      </dgm:prSet>
      <dgm:spPr/>
    </dgm:pt>
    <dgm:pt modelId="{4E062B96-6645-4665-A421-24745FA760FB}" type="pres">
      <dgm:prSet presAssocID="{2ED037A7-B3CB-4273-8BBA-57BF4704087B}" presName="descendantText" presStyleLbl="alignAccFollowNode1" presStyleIdx="4" presStyleCnt="5">
        <dgm:presLayoutVars>
          <dgm:bulletEnabled val="1"/>
        </dgm:presLayoutVars>
      </dgm:prSet>
      <dgm:spPr/>
    </dgm:pt>
  </dgm:ptLst>
  <dgm:cxnLst>
    <dgm:cxn modelId="{4DB0F002-3191-481B-9093-0B98677996B9}" type="presOf" srcId="{EE725E86-2A93-4F75-A1D5-62D5FE3A4D3F}" destId="{7DC9B0B9-578B-4B8D-ACD8-F16982B4490A}" srcOrd="0" destOrd="0" presId="urn:microsoft.com/office/officeart/2005/8/layout/vList5"/>
    <dgm:cxn modelId="{2C53920B-82AC-422A-9CD4-FF11FE87B205}" srcId="{BC41CD85-E817-4BEC-B29F-53F5A8B70FE4}" destId="{6344F9A8-C0C9-405A-A1C8-CB8F215ED6B9}" srcOrd="1" destOrd="0" parTransId="{251FB970-243D-4349-B2ED-6DBDAC73570B}" sibTransId="{66BBA542-6486-4D64-8B43-030185FEBE86}"/>
    <dgm:cxn modelId="{7163C61E-C9EC-4E46-9322-083A69FF096F}" type="presOf" srcId="{4C8C0B88-52C0-4706-A374-86394021D6FE}" destId="{723C69E9-DD1F-4802-B5D1-DAD24A0B732A}" srcOrd="0" destOrd="0" presId="urn:microsoft.com/office/officeart/2005/8/layout/vList5"/>
    <dgm:cxn modelId="{EDC3BD23-4B38-4043-BF42-AE5D9AEA3D4B}" srcId="{07C82360-EDAF-4113-87AF-24C21C5721C5}" destId="{EE725E86-2A93-4F75-A1D5-62D5FE3A4D3F}" srcOrd="0" destOrd="0" parTransId="{0CF4CAC6-855F-4080-80D6-BA88D6D2FA4E}" sibTransId="{90A1DA2F-1ABE-4896-B480-61DA11FEDFC7}"/>
    <dgm:cxn modelId="{4A6AAB26-1CE6-4C24-A370-FC5904449363}" srcId="{603355EC-83FE-4933-8F56-E73CDB8835D3}" destId="{83666A86-2C1C-4CBD-A667-BD98871E3697}" srcOrd="1" destOrd="0" parTransId="{1DFB4A3E-9D5C-4B4D-BC92-1A5F5BA22B6D}" sibTransId="{C0C60AC1-C7AE-4A99-9A5D-6FF6B658DEAE}"/>
    <dgm:cxn modelId="{5A52EA2D-B45B-4E28-85F5-931FA7AB9EF6}" type="presOf" srcId="{8C739715-6873-4DA3-B4F3-DA06464655F4}" destId="{63F27776-0098-4289-B877-8ABC13B38A1B}" srcOrd="0" destOrd="0" presId="urn:microsoft.com/office/officeart/2005/8/layout/vList5"/>
    <dgm:cxn modelId="{A773F331-7296-4ECA-ABC0-A0CC8D1074ED}" type="presOf" srcId="{384A12E1-22A2-4632-969E-9C3052ED8BB3}" destId="{E0204C3B-AF99-4527-B5A8-E300522B13AF}" srcOrd="0" destOrd="0" presId="urn:microsoft.com/office/officeart/2005/8/layout/vList5"/>
    <dgm:cxn modelId="{C111A635-8820-48F2-841B-A155BA0A731F}" type="presOf" srcId="{B82A7C54-BD69-4AF5-9858-822AB65AF867}" destId="{D1B1B053-A6BC-48DB-953D-6F5EF07BFE05}" srcOrd="0" destOrd="0" presId="urn:microsoft.com/office/officeart/2005/8/layout/vList5"/>
    <dgm:cxn modelId="{3940CF5E-3F02-4C6D-9800-B1ACE1F95D15}" type="presOf" srcId="{6FA0E280-779E-40CD-ADED-81515EDBB53F}" destId="{640279C1-7D69-49D8-9188-918F69126F58}" srcOrd="0" destOrd="0" presId="urn:microsoft.com/office/officeart/2005/8/layout/vList5"/>
    <dgm:cxn modelId="{C745D060-FAFA-47F5-8640-89B7738BE819}" type="presOf" srcId="{2ED037A7-B3CB-4273-8BBA-57BF4704087B}" destId="{568908A0-9C4D-432B-AEAC-C5FBCD6697BA}" srcOrd="0" destOrd="0" presId="urn:microsoft.com/office/officeart/2005/8/layout/vList5"/>
    <dgm:cxn modelId="{933C2741-CF0B-4541-A0AD-9FDA181C5C97}" type="presOf" srcId="{83666A86-2C1C-4CBD-A667-BD98871E3697}" destId="{63F27776-0098-4289-B877-8ABC13B38A1B}" srcOrd="0" destOrd="1" presId="urn:microsoft.com/office/officeart/2005/8/layout/vList5"/>
    <dgm:cxn modelId="{C2572167-652E-4767-AB7A-01B08B50C9D4}" type="presOf" srcId="{6359A37D-964F-4802-A6CE-1A95DBD7DA06}" destId="{4E062B96-6645-4665-A421-24745FA760FB}" srcOrd="0" destOrd="1" presId="urn:microsoft.com/office/officeart/2005/8/layout/vList5"/>
    <dgm:cxn modelId="{18DA1271-C561-4AC3-83EC-E905976DDCEB}" srcId="{BC41CD85-E817-4BEC-B29F-53F5A8B70FE4}" destId="{B82A7C54-BD69-4AF5-9858-822AB65AF867}" srcOrd="0" destOrd="0" parTransId="{B764270E-F43D-441F-B59B-E6DFD5A94B7F}" sibTransId="{12F06DBB-C2A1-4E6F-ACFC-8BD9355BC871}"/>
    <dgm:cxn modelId="{2EA66257-4C13-4390-8740-42AD002FB4E5}" type="presOf" srcId="{07C82360-EDAF-4113-87AF-24C21C5721C5}" destId="{B3F71597-1938-4FAC-8E83-7A2F58F8BC65}" srcOrd="0" destOrd="0" presId="urn:microsoft.com/office/officeart/2005/8/layout/vList5"/>
    <dgm:cxn modelId="{BA5D937F-0E48-4838-B02D-A8E8EDD63AA0}" srcId="{EE725E86-2A93-4F75-A1D5-62D5FE3A4D3F}" destId="{6FA0E280-779E-40CD-ADED-81515EDBB53F}" srcOrd="0" destOrd="0" parTransId="{00D91013-D6F7-4EE8-9ACE-EBEF1D234A18}" sibTransId="{3D1862EA-12ED-4BED-A96A-085077B90469}"/>
    <dgm:cxn modelId="{7FD020A6-1E31-44F0-87D6-E72A200A465F}" type="presOf" srcId="{603355EC-83FE-4933-8F56-E73CDB8835D3}" destId="{4C0021D0-AC09-453B-8070-E7D22D0D7636}" srcOrd="0" destOrd="0" presId="urn:microsoft.com/office/officeart/2005/8/layout/vList5"/>
    <dgm:cxn modelId="{10C2C6B0-3157-4855-9382-B2DAD8ED7726}" srcId="{07C82360-EDAF-4113-87AF-24C21C5721C5}" destId="{4C8C0B88-52C0-4706-A374-86394021D6FE}" srcOrd="3" destOrd="0" parTransId="{703E6587-BD19-4997-AC19-E7145573CAF9}" sibTransId="{26A0B72E-21AF-4336-964B-2A053BE9E04A}"/>
    <dgm:cxn modelId="{1A16E8C2-1EF0-47E8-A49B-A19FFF102559}" srcId="{07C82360-EDAF-4113-87AF-24C21C5721C5}" destId="{2ED037A7-B3CB-4273-8BBA-57BF4704087B}" srcOrd="4" destOrd="0" parTransId="{AA93B410-F46D-49E0-8083-66BCE6AA7C95}" sibTransId="{CEC7C17B-F510-404F-A344-E56D5F2541E0}"/>
    <dgm:cxn modelId="{1FE010CF-7595-4F86-8D5B-9D7371848CF7}" srcId="{2ED037A7-B3CB-4273-8BBA-57BF4704087B}" destId="{17D7E1C7-18DD-4D5E-A9EC-F0987CAA6DFE}" srcOrd="0" destOrd="0" parTransId="{48905511-1728-47F5-A876-8DC136D83E79}" sibTransId="{E8FBC2D7-DF6A-46FB-9AB4-56B7B00227AF}"/>
    <dgm:cxn modelId="{489149D8-AEA6-4167-AEA0-64B537F7BE33}" type="presOf" srcId="{BC41CD85-E817-4BEC-B29F-53F5A8B70FE4}" destId="{9C1F4515-A98C-48F3-B780-C1D6F149BBAB}" srcOrd="0" destOrd="0" presId="urn:microsoft.com/office/officeart/2005/8/layout/vList5"/>
    <dgm:cxn modelId="{671BE8DA-60C1-4C78-AC4D-3E04FBBE2DA0}" srcId="{4C8C0B88-52C0-4706-A374-86394021D6FE}" destId="{384A12E1-22A2-4632-969E-9C3052ED8BB3}" srcOrd="0" destOrd="0" parTransId="{67D68D89-D4ED-4B5B-AF9C-110306440B2D}" sibTransId="{B889A5EE-4189-49DA-BDDC-161F305C8BE1}"/>
    <dgm:cxn modelId="{8E2261DC-0E30-4080-B1D7-2027B5E80F15}" type="presOf" srcId="{17D7E1C7-18DD-4D5E-A9EC-F0987CAA6DFE}" destId="{4E062B96-6645-4665-A421-24745FA760FB}" srcOrd="0" destOrd="0" presId="urn:microsoft.com/office/officeart/2005/8/layout/vList5"/>
    <dgm:cxn modelId="{19EE6EE6-5221-4979-8BDC-D43E2557CD64}" srcId="{603355EC-83FE-4933-8F56-E73CDB8835D3}" destId="{8C739715-6873-4DA3-B4F3-DA06464655F4}" srcOrd="0" destOrd="0" parTransId="{59844659-31EC-446E-AF76-738DBFD57397}" sibTransId="{0FEDA959-8394-4DA3-AE46-31A108D0F879}"/>
    <dgm:cxn modelId="{6BC1E6F2-AB44-40DB-BD88-97FA18C38AE9}" srcId="{07C82360-EDAF-4113-87AF-24C21C5721C5}" destId="{603355EC-83FE-4933-8F56-E73CDB8835D3}" srcOrd="2" destOrd="0" parTransId="{8E5F1B2F-6848-4C0D-846A-9F87FE65D8A2}" sibTransId="{315489C6-5D60-453A-891A-35B55894D0C8}"/>
    <dgm:cxn modelId="{B1FF7BF8-3AC8-4529-94D5-1D523AB0E6A6}" srcId="{2ED037A7-B3CB-4273-8BBA-57BF4704087B}" destId="{6359A37D-964F-4802-A6CE-1A95DBD7DA06}" srcOrd="1" destOrd="0" parTransId="{5977D8EB-A6E2-4F7A-9609-F10F869A9A80}" sibTransId="{6847F1D1-C55E-4BC3-867B-5F3AF47E5DE2}"/>
    <dgm:cxn modelId="{31EB40FA-9992-474D-9210-19E2D35435D8}" type="presOf" srcId="{6344F9A8-C0C9-405A-A1C8-CB8F215ED6B9}" destId="{D1B1B053-A6BC-48DB-953D-6F5EF07BFE05}" srcOrd="0" destOrd="1" presId="urn:microsoft.com/office/officeart/2005/8/layout/vList5"/>
    <dgm:cxn modelId="{A76C5DFE-9CCE-477E-8F31-20C948A0EA0C}" srcId="{07C82360-EDAF-4113-87AF-24C21C5721C5}" destId="{BC41CD85-E817-4BEC-B29F-53F5A8B70FE4}" srcOrd="1" destOrd="0" parTransId="{E351A05F-5547-46C5-949F-014A6807E88A}" sibTransId="{39C2A009-5C57-468E-817E-86C89DC84538}"/>
    <dgm:cxn modelId="{57ACF041-AABE-4DFA-B926-AE3B694DD147}" type="presParOf" srcId="{B3F71597-1938-4FAC-8E83-7A2F58F8BC65}" destId="{CDDB6FA6-D4C6-438B-87C9-D6675ED079A6}" srcOrd="0" destOrd="0" presId="urn:microsoft.com/office/officeart/2005/8/layout/vList5"/>
    <dgm:cxn modelId="{7D9DBA83-1B79-400B-A10C-A58930160225}" type="presParOf" srcId="{CDDB6FA6-D4C6-438B-87C9-D6675ED079A6}" destId="{7DC9B0B9-578B-4B8D-ACD8-F16982B4490A}" srcOrd="0" destOrd="0" presId="urn:microsoft.com/office/officeart/2005/8/layout/vList5"/>
    <dgm:cxn modelId="{0BF35616-9BB0-4249-BCDE-80120008B2B5}" type="presParOf" srcId="{CDDB6FA6-D4C6-438B-87C9-D6675ED079A6}" destId="{640279C1-7D69-49D8-9188-918F69126F58}" srcOrd="1" destOrd="0" presId="urn:microsoft.com/office/officeart/2005/8/layout/vList5"/>
    <dgm:cxn modelId="{ACC2C38D-E868-4098-8B8E-74DB6D816CEC}" type="presParOf" srcId="{B3F71597-1938-4FAC-8E83-7A2F58F8BC65}" destId="{F5641EBF-0F75-4EA9-9213-E78BB291C605}" srcOrd="1" destOrd="0" presId="urn:microsoft.com/office/officeart/2005/8/layout/vList5"/>
    <dgm:cxn modelId="{2BFFF779-275F-4A5B-8906-078B6F5D2214}" type="presParOf" srcId="{B3F71597-1938-4FAC-8E83-7A2F58F8BC65}" destId="{E43D801B-141E-4F37-806C-F4B08FA59087}" srcOrd="2" destOrd="0" presId="urn:microsoft.com/office/officeart/2005/8/layout/vList5"/>
    <dgm:cxn modelId="{E800E26F-CD8C-4CCD-B3C0-1816B6E06C1B}" type="presParOf" srcId="{E43D801B-141E-4F37-806C-F4B08FA59087}" destId="{9C1F4515-A98C-48F3-B780-C1D6F149BBAB}" srcOrd="0" destOrd="0" presId="urn:microsoft.com/office/officeart/2005/8/layout/vList5"/>
    <dgm:cxn modelId="{E319B976-46F9-4F3C-B7E9-FF76785E44D2}" type="presParOf" srcId="{E43D801B-141E-4F37-806C-F4B08FA59087}" destId="{D1B1B053-A6BC-48DB-953D-6F5EF07BFE05}" srcOrd="1" destOrd="0" presId="urn:microsoft.com/office/officeart/2005/8/layout/vList5"/>
    <dgm:cxn modelId="{95428D01-201A-4781-8A3C-DDBBC608D8C6}" type="presParOf" srcId="{B3F71597-1938-4FAC-8E83-7A2F58F8BC65}" destId="{11EA9430-BCF8-4AC0-B188-EB3F2017DEBE}" srcOrd="3" destOrd="0" presId="urn:microsoft.com/office/officeart/2005/8/layout/vList5"/>
    <dgm:cxn modelId="{888169D0-2722-4251-A1B1-C165181BBA47}" type="presParOf" srcId="{B3F71597-1938-4FAC-8E83-7A2F58F8BC65}" destId="{BEDF9A54-D7DD-4E93-ADEA-F837D3F2B802}" srcOrd="4" destOrd="0" presId="urn:microsoft.com/office/officeart/2005/8/layout/vList5"/>
    <dgm:cxn modelId="{A92F0515-B07A-4E11-9827-6A4606E431FC}" type="presParOf" srcId="{BEDF9A54-D7DD-4E93-ADEA-F837D3F2B802}" destId="{4C0021D0-AC09-453B-8070-E7D22D0D7636}" srcOrd="0" destOrd="0" presId="urn:microsoft.com/office/officeart/2005/8/layout/vList5"/>
    <dgm:cxn modelId="{D55CBEA5-DB91-4325-B2AE-680D0F897654}" type="presParOf" srcId="{BEDF9A54-D7DD-4E93-ADEA-F837D3F2B802}" destId="{63F27776-0098-4289-B877-8ABC13B38A1B}" srcOrd="1" destOrd="0" presId="urn:microsoft.com/office/officeart/2005/8/layout/vList5"/>
    <dgm:cxn modelId="{715063ED-B477-4135-AD5F-0FA4226922FF}" type="presParOf" srcId="{B3F71597-1938-4FAC-8E83-7A2F58F8BC65}" destId="{42866D2B-08FF-435E-BD88-F2E8EBC83E76}" srcOrd="5" destOrd="0" presId="urn:microsoft.com/office/officeart/2005/8/layout/vList5"/>
    <dgm:cxn modelId="{1BE1868B-5B31-4E78-8DE2-E4AA1A99CF5B}" type="presParOf" srcId="{B3F71597-1938-4FAC-8E83-7A2F58F8BC65}" destId="{A41227C0-1006-48D6-A275-650D54E8D0BB}" srcOrd="6" destOrd="0" presId="urn:microsoft.com/office/officeart/2005/8/layout/vList5"/>
    <dgm:cxn modelId="{2AC9C50F-F513-40F9-88E2-0FF4A849B0CD}" type="presParOf" srcId="{A41227C0-1006-48D6-A275-650D54E8D0BB}" destId="{723C69E9-DD1F-4802-B5D1-DAD24A0B732A}" srcOrd="0" destOrd="0" presId="urn:microsoft.com/office/officeart/2005/8/layout/vList5"/>
    <dgm:cxn modelId="{FAA2A448-CC98-43C5-8046-17044F287537}" type="presParOf" srcId="{A41227C0-1006-48D6-A275-650D54E8D0BB}" destId="{E0204C3B-AF99-4527-B5A8-E300522B13AF}" srcOrd="1" destOrd="0" presId="urn:microsoft.com/office/officeart/2005/8/layout/vList5"/>
    <dgm:cxn modelId="{B0F85225-7270-4A32-988C-1602E0018D5E}" type="presParOf" srcId="{B3F71597-1938-4FAC-8E83-7A2F58F8BC65}" destId="{0E6EB6A6-C292-4AB4-82ED-9133887A7BFC}" srcOrd="7" destOrd="0" presId="urn:microsoft.com/office/officeart/2005/8/layout/vList5"/>
    <dgm:cxn modelId="{6E95C98E-3D10-45AB-9B37-B07ADD22FD62}" type="presParOf" srcId="{B3F71597-1938-4FAC-8E83-7A2F58F8BC65}" destId="{8CE3AF84-047E-47D3-ABE7-092E1118B378}" srcOrd="8" destOrd="0" presId="urn:microsoft.com/office/officeart/2005/8/layout/vList5"/>
    <dgm:cxn modelId="{CA3CB6A2-4473-4A4A-9A9B-8D3F498FE502}" type="presParOf" srcId="{8CE3AF84-047E-47D3-ABE7-092E1118B378}" destId="{568908A0-9C4D-432B-AEAC-C5FBCD6697BA}" srcOrd="0" destOrd="0" presId="urn:microsoft.com/office/officeart/2005/8/layout/vList5"/>
    <dgm:cxn modelId="{67F4002C-A061-425A-B80D-4D369D1374E4}" type="presParOf" srcId="{8CE3AF84-047E-47D3-ABE7-092E1118B378}" destId="{4E062B96-6645-4665-A421-24745FA760F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8B18D84D-BD93-4C97-BC46-80CAA4FDCEED}" type="doc">
      <dgm:prSet loTypeId="urn:microsoft.com/office/officeart/2005/8/layout/cycle2" loCatId="cycle" qsTypeId="urn:microsoft.com/office/officeart/2005/8/quickstyle/simple1" qsCatId="simple" csTypeId="urn:microsoft.com/office/officeart/2005/8/colors/colorful1" csCatId="colorful" phldr="1"/>
      <dgm:spPr/>
      <dgm:t>
        <a:bodyPr/>
        <a:lstStyle/>
        <a:p>
          <a:endParaRPr lang="en-US"/>
        </a:p>
      </dgm:t>
    </dgm:pt>
    <dgm:pt modelId="{E871F88C-2016-48D5-9A4C-FDA2093D1178}">
      <dgm:prSet/>
      <dgm:spPr/>
      <dgm:t>
        <a:bodyPr/>
        <a:lstStyle/>
        <a:p>
          <a:r>
            <a:rPr lang="en-US" baseline="0"/>
            <a:t>Slow Query Performance</a:t>
          </a:r>
          <a:endParaRPr lang="en-US"/>
        </a:p>
      </dgm:t>
    </dgm:pt>
    <dgm:pt modelId="{0F89365D-1042-4149-9730-75DA12E4C19A}" type="parTrans" cxnId="{E7577584-91A2-4858-B3F9-3842C464C25F}">
      <dgm:prSet/>
      <dgm:spPr/>
      <dgm:t>
        <a:bodyPr/>
        <a:lstStyle/>
        <a:p>
          <a:endParaRPr lang="en-US"/>
        </a:p>
      </dgm:t>
    </dgm:pt>
    <dgm:pt modelId="{55E1B66C-656E-4635-B9A5-2141C5A1E806}" type="sibTrans" cxnId="{E7577584-91A2-4858-B3F9-3842C464C25F}">
      <dgm:prSet/>
      <dgm:spPr/>
      <dgm:t>
        <a:bodyPr/>
        <a:lstStyle/>
        <a:p>
          <a:endParaRPr lang="en-US"/>
        </a:p>
      </dgm:t>
    </dgm:pt>
    <dgm:pt modelId="{3FB8A314-F84E-481A-ABE4-6D666A900CD6}">
      <dgm:prSet/>
      <dgm:spPr/>
      <dgm:t>
        <a:bodyPr/>
        <a:lstStyle/>
        <a:p>
          <a:r>
            <a:rPr lang="en-US" baseline="0"/>
            <a:t>High Waits</a:t>
          </a:r>
          <a:endParaRPr lang="en-US"/>
        </a:p>
      </dgm:t>
    </dgm:pt>
    <dgm:pt modelId="{CC3B8B10-02AD-41B1-8F31-064536B974ED}" type="parTrans" cxnId="{EE1F4845-99DD-41C5-A02D-CB8D9E214BC9}">
      <dgm:prSet/>
      <dgm:spPr/>
      <dgm:t>
        <a:bodyPr/>
        <a:lstStyle/>
        <a:p>
          <a:endParaRPr lang="en-US"/>
        </a:p>
      </dgm:t>
    </dgm:pt>
    <dgm:pt modelId="{16D11246-2739-487B-8958-9BF6FBA2B1E4}" type="sibTrans" cxnId="{EE1F4845-99DD-41C5-A02D-CB8D9E214BC9}">
      <dgm:prSet/>
      <dgm:spPr/>
      <dgm:t>
        <a:bodyPr/>
        <a:lstStyle/>
        <a:p>
          <a:endParaRPr lang="en-US"/>
        </a:p>
      </dgm:t>
    </dgm:pt>
    <dgm:pt modelId="{E98BAE70-46A6-4EFC-AEA7-0AC7C1315CDE}">
      <dgm:prSet/>
      <dgm:spPr/>
      <dgm:t>
        <a:bodyPr/>
        <a:lstStyle/>
        <a:p>
          <a:r>
            <a:rPr lang="en-US" baseline="0"/>
            <a:t>Blocking</a:t>
          </a:r>
          <a:endParaRPr lang="en-US"/>
        </a:p>
      </dgm:t>
    </dgm:pt>
    <dgm:pt modelId="{6427B00F-03E9-42DA-A1BB-4DBE9FFCAFA0}" type="parTrans" cxnId="{D7303C74-749F-45D7-B8CA-150964983430}">
      <dgm:prSet/>
      <dgm:spPr/>
      <dgm:t>
        <a:bodyPr/>
        <a:lstStyle/>
        <a:p>
          <a:endParaRPr lang="en-US"/>
        </a:p>
      </dgm:t>
    </dgm:pt>
    <dgm:pt modelId="{241B3399-EDF4-4645-8C46-F6959C3AA6F5}" type="sibTrans" cxnId="{D7303C74-749F-45D7-B8CA-150964983430}">
      <dgm:prSet/>
      <dgm:spPr/>
      <dgm:t>
        <a:bodyPr/>
        <a:lstStyle/>
        <a:p>
          <a:endParaRPr lang="en-US"/>
        </a:p>
      </dgm:t>
    </dgm:pt>
    <dgm:pt modelId="{AC7ECD8D-D332-472C-8CD2-B60F1C212C55}">
      <dgm:prSet/>
      <dgm:spPr/>
      <dgm:t>
        <a:bodyPr/>
        <a:lstStyle/>
        <a:p>
          <a:r>
            <a:rPr lang="en-US" baseline="0"/>
            <a:t>Deadlocks</a:t>
          </a:r>
          <a:endParaRPr lang="en-US"/>
        </a:p>
      </dgm:t>
    </dgm:pt>
    <dgm:pt modelId="{E60A752F-6CC9-4E78-90AC-8EED5DC0B192}" type="parTrans" cxnId="{6C2D76B6-6DC3-462B-82EC-BB24ADA5CEB5}">
      <dgm:prSet/>
      <dgm:spPr/>
      <dgm:t>
        <a:bodyPr/>
        <a:lstStyle/>
        <a:p>
          <a:endParaRPr lang="en-US"/>
        </a:p>
      </dgm:t>
    </dgm:pt>
    <dgm:pt modelId="{0B340EFC-DCFF-4BC3-B6EE-40A581187396}" type="sibTrans" cxnId="{6C2D76B6-6DC3-462B-82EC-BB24ADA5CEB5}">
      <dgm:prSet/>
      <dgm:spPr/>
      <dgm:t>
        <a:bodyPr/>
        <a:lstStyle/>
        <a:p>
          <a:endParaRPr lang="en-US"/>
        </a:p>
      </dgm:t>
    </dgm:pt>
    <dgm:pt modelId="{45BD7934-AE01-4BEB-BF6B-4A233FFC8D56}">
      <dgm:prSet/>
      <dgm:spPr/>
      <dgm:t>
        <a:bodyPr/>
        <a:lstStyle/>
        <a:p>
          <a:r>
            <a:rPr lang="en-US" baseline="0" dirty="0"/>
            <a:t>High CPU</a:t>
          </a:r>
          <a:endParaRPr lang="en-US" dirty="0"/>
        </a:p>
      </dgm:t>
    </dgm:pt>
    <dgm:pt modelId="{9671F3D1-207C-44B7-9418-B2DA4414BE82}" type="parTrans" cxnId="{E2F8D1B5-9A4B-45C5-B99A-7AD3B4160204}">
      <dgm:prSet/>
      <dgm:spPr/>
      <dgm:t>
        <a:bodyPr/>
        <a:lstStyle/>
        <a:p>
          <a:endParaRPr lang="en-US"/>
        </a:p>
      </dgm:t>
    </dgm:pt>
    <dgm:pt modelId="{CF6C61BC-0D3A-4725-8333-8A9CFF8DAF69}" type="sibTrans" cxnId="{E2F8D1B5-9A4B-45C5-B99A-7AD3B4160204}">
      <dgm:prSet/>
      <dgm:spPr/>
      <dgm:t>
        <a:bodyPr/>
        <a:lstStyle/>
        <a:p>
          <a:endParaRPr lang="en-US"/>
        </a:p>
      </dgm:t>
    </dgm:pt>
    <dgm:pt modelId="{CAA3264C-5A31-496D-80EF-5EAEABBD1727}" type="pres">
      <dgm:prSet presAssocID="{8B18D84D-BD93-4C97-BC46-80CAA4FDCEED}" presName="cycle" presStyleCnt="0">
        <dgm:presLayoutVars>
          <dgm:dir/>
          <dgm:resizeHandles val="exact"/>
        </dgm:presLayoutVars>
      </dgm:prSet>
      <dgm:spPr/>
    </dgm:pt>
    <dgm:pt modelId="{64767B5A-9151-4F5B-9557-703EBF63FA06}" type="pres">
      <dgm:prSet presAssocID="{E871F88C-2016-48D5-9A4C-FDA2093D1178}" presName="node" presStyleLbl="node1" presStyleIdx="0" presStyleCnt="5" custScaleX="121000" custScaleY="121000">
        <dgm:presLayoutVars>
          <dgm:bulletEnabled val="1"/>
        </dgm:presLayoutVars>
      </dgm:prSet>
      <dgm:spPr/>
    </dgm:pt>
    <dgm:pt modelId="{661F249F-EE55-4AF9-9CC2-5292F24B97D1}" type="pres">
      <dgm:prSet presAssocID="{55E1B66C-656E-4635-B9A5-2141C5A1E806}" presName="sibTrans" presStyleLbl="sibTrans2D1" presStyleIdx="0" presStyleCnt="5" custScaleX="121000" custScaleY="121000"/>
      <dgm:spPr/>
    </dgm:pt>
    <dgm:pt modelId="{19C90210-67B1-452A-81F9-5719DEB496D0}" type="pres">
      <dgm:prSet presAssocID="{55E1B66C-656E-4635-B9A5-2141C5A1E806}" presName="connectorText" presStyleLbl="sibTrans2D1" presStyleIdx="0" presStyleCnt="5"/>
      <dgm:spPr/>
    </dgm:pt>
    <dgm:pt modelId="{758A3713-F5C1-4C6A-AA35-AB409C237162}" type="pres">
      <dgm:prSet presAssocID="{3FB8A314-F84E-481A-ABE4-6D666A900CD6}" presName="node" presStyleLbl="node1" presStyleIdx="1" presStyleCnt="5" custScaleX="121000" custScaleY="121000">
        <dgm:presLayoutVars>
          <dgm:bulletEnabled val="1"/>
        </dgm:presLayoutVars>
      </dgm:prSet>
      <dgm:spPr/>
    </dgm:pt>
    <dgm:pt modelId="{8CF106F9-F290-4408-BD4B-68DBC5A7215D}" type="pres">
      <dgm:prSet presAssocID="{16D11246-2739-487B-8958-9BF6FBA2B1E4}" presName="sibTrans" presStyleLbl="sibTrans2D1" presStyleIdx="1" presStyleCnt="5" custScaleX="121000" custScaleY="121000"/>
      <dgm:spPr/>
    </dgm:pt>
    <dgm:pt modelId="{43A3FB92-DDD4-42F2-B0DF-86552D1E2A32}" type="pres">
      <dgm:prSet presAssocID="{16D11246-2739-487B-8958-9BF6FBA2B1E4}" presName="connectorText" presStyleLbl="sibTrans2D1" presStyleIdx="1" presStyleCnt="5"/>
      <dgm:spPr/>
    </dgm:pt>
    <dgm:pt modelId="{FEB1ECDE-3376-4600-8706-C4243B3CC794}" type="pres">
      <dgm:prSet presAssocID="{E98BAE70-46A6-4EFC-AEA7-0AC7C1315CDE}" presName="node" presStyleLbl="node1" presStyleIdx="2" presStyleCnt="5" custScaleX="121000" custScaleY="121000">
        <dgm:presLayoutVars>
          <dgm:bulletEnabled val="1"/>
        </dgm:presLayoutVars>
      </dgm:prSet>
      <dgm:spPr/>
    </dgm:pt>
    <dgm:pt modelId="{E07E9706-5AD4-4B7F-958D-2283864DF303}" type="pres">
      <dgm:prSet presAssocID="{241B3399-EDF4-4645-8C46-F6959C3AA6F5}" presName="sibTrans" presStyleLbl="sibTrans2D1" presStyleIdx="2" presStyleCnt="5" custScaleX="121000" custScaleY="121000"/>
      <dgm:spPr/>
    </dgm:pt>
    <dgm:pt modelId="{E8CC6634-DA6C-4D4B-B09C-DC61F53E57D1}" type="pres">
      <dgm:prSet presAssocID="{241B3399-EDF4-4645-8C46-F6959C3AA6F5}" presName="connectorText" presStyleLbl="sibTrans2D1" presStyleIdx="2" presStyleCnt="5"/>
      <dgm:spPr/>
    </dgm:pt>
    <dgm:pt modelId="{734B4AB0-FCE2-4BDA-B343-ADE4DA0172FF}" type="pres">
      <dgm:prSet presAssocID="{AC7ECD8D-D332-472C-8CD2-B60F1C212C55}" presName="node" presStyleLbl="node1" presStyleIdx="3" presStyleCnt="5" custScaleX="121000" custScaleY="121000">
        <dgm:presLayoutVars>
          <dgm:bulletEnabled val="1"/>
        </dgm:presLayoutVars>
      </dgm:prSet>
      <dgm:spPr/>
    </dgm:pt>
    <dgm:pt modelId="{1C70D44A-A4FB-47A7-9A5B-E1FD8B9604F6}" type="pres">
      <dgm:prSet presAssocID="{0B340EFC-DCFF-4BC3-B6EE-40A581187396}" presName="sibTrans" presStyleLbl="sibTrans2D1" presStyleIdx="3" presStyleCnt="5" custScaleX="121000" custScaleY="121000"/>
      <dgm:spPr/>
    </dgm:pt>
    <dgm:pt modelId="{0BBCAA6D-3926-47D5-9565-19129CA3F6DF}" type="pres">
      <dgm:prSet presAssocID="{0B340EFC-DCFF-4BC3-B6EE-40A581187396}" presName="connectorText" presStyleLbl="sibTrans2D1" presStyleIdx="3" presStyleCnt="5"/>
      <dgm:spPr/>
    </dgm:pt>
    <dgm:pt modelId="{528F03D9-CA44-4508-9D34-12EEEA826110}" type="pres">
      <dgm:prSet presAssocID="{45BD7934-AE01-4BEB-BF6B-4A233FFC8D56}" presName="node" presStyleLbl="node1" presStyleIdx="4" presStyleCnt="5" custScaleX="121000" custScaleY="121000">
        <dgm:presLayoutVars>
          <dgm:bulletEnabled val="1"/>
        </dgm:presLayoutVars>
      </dgm:prSet>
      <dgm:spPr/>
    </dgm:pt>
    <dgm:pt modelId="{2BF6A18B-86C4-402D-87E2-5FC603D90A89}" type="pres">
      <dgm:prSet presAssocID="{CF6C61BC-0D3A-4725-8333-8A9CFF8DAF69}" presName="sibTrans" presStyleLbl="sibTrans2D1" presStyleIdx="4" presStyleCnt="5" custScaleX="121000" custScaleY="121000"/>
      <dgm:spPr/>
    </dgm:pt>
    <dgm:pt modelId="{07147648-4522-45B4-9C43-E2484AEAFD9F}" type="pres">
      <dgm:prSet presAssocID="{CF6C61BC-0D3A-4725-8333-8A9CFF8DAF69}" presName="connectorText" presStyleLbl="sibTrans2D1" presStyleIdx="4" presStyleCnt="5"/>
      <dgm:spPr/>
    </dgm:pt>
  </dgm:ptLst>
  <dgm:cxnLst>
    <dgm:cxn modelId="{86BF690C-5642-4CFB-A80F-F3790B7B6076}" type="presOf" srcId="{E98BAE70-46A6-4EFC-AEA7-0AC7C1315CDE}" destId="{FEB1ECDE-3376-4600-8706-C4243B3CC794}" srcOrd="0" destOrd="0" presId="urn:microsoft.com/office/officeart/2005/8/layout/cycle2"/>
    <dgm:cxn modelId="{0229031F-6106-4E05-8987-A6741AD965C6}" type="presOf" srcId="{CF6C61BC-0D3A-4725-8333-8A9CFF8DAF69}" destId="{07147648-4522-45B4-9C43-E2484AEAFD9F}" srcOrd="1" destOrd="0" presId="urn:microsoft.com/office/officeart/2005/8/layout/cycle2"/>
    <dgm:cxn modelId="{2A467F24-82EC-4F86-8936-0439B01EEF12}" type="presOf" srcId="{241B3399-EDF4-4645-8C46-F6959C3AA6F5}" destId="{E8CC6634-DA6C-4D4B-B09C-DC61F53E57D1}" srcOrd="1" destOrd="0" presId="urn:microsoft.com/office/officeart/2005/8/layout/cycle2"/>
    <dgm:cxn modelId="{1541BD64-0F87-4FAB-A00C-4BD5F8B9AB40}" type="presOf" srcId="{AC7ECD8D-D332-472C-8CD2-B60F1C212C55}" destId="{734B4AB0-FCE2-4BDA-B343-ADE4DA0172FF}" srcOrd="0" destOrd="0" presId="urn:microsoft.com/office/officeart/2005/8/layout/cycle2"/>
    <dgm:cxn modelId="{EE1F4845-99DD-41C5-A02D-CB8D9E214BC9}" srcId="{8B18D84D-BD93-4C97-BC46-80CAA4FDCEED}" destId="{3FB8A314-F84E-481A-ABE4-6D666A900CD6}" srcOrd="1" destOrd="0" parTransId="{CC3B8B10-02AD-41B1-8F31-064536B974ED}" sibTransId="{16D11246-2739-487B-8958-9BF6FBA2B1E4}"/>
    <dgm:cxn modelId="{46C5B36B-BD8A-4FE3-B2FC-BB477F80F2CD}" type="presOf" srcId="{E871F88C-2016-48D5-9A4C-FDA2093D1178}" destId="{64767B5A-9151-4F5B-9557-703EBF63FA06}" srcOrd="0" destOrd="0" presId="urn:microsoft.com/office/officeart/2005/8/layout/cycle2"/>
    <dgm:cxn modelId="{AB764B73-F945-44EA-9518-3C39D36025A0}" type="presOf" srcId="{0B340EFC-DCFF-4BC3-B6EE-40A581187396}" destId="{0BBCAA6D-3926-47D5-9565-19129CA3F6DF}" srcOrd="1" destOrd="0" presId="urn:microsoft.com/office/officeart/2005/8/layout/cycle2"/>
    <dgm:cxn modelId="{F1053B74-61BA-4E20-A646-77A6340BB148}" type="presOf" srcId="{0B340EFC-DCFF-4BC3-B6EE-40A581187396}" destId="{1C70D44A-A4FB-47A7-9A5B-E1FD8B9604F6}" srcOrd="0" destOrd="0" presId="urn:microsoft.com/office/officeart/2005/8/layout/cycle2"/>
    <dgm:cxn modelId="{D7303C74-749F-45D7-B8CA-150964983430}" srcId="{8B18D84D-BD93-4C97-BC46-80CAA4FDCEED}" destId="{E98BAE70-46A6-4EFC-AEA7-0AC7C1315CDE}" srcOrd="2" destOrd="0" parTransId="{6427B00F-03E9-42DA-A1BB-4DBE9FFCAFA0}" sibTransId="{241B3399-EDF4-4645-8C46-F6959C3AA6F5}"/>
    <dgm:cxn modelId="{F2B1D155-7CE3-428B-BB0B-DB4128F54C34}" type="presOf" srcId="{45BD7934-AE01-4BEB-BF6B-4A233FFC8D56}" destId="{528F03D9-CA44-4508-9D34-12EEEA826110}" srcOrd="0" destOrd="0" presId="urn:microsoft.com/office/officeart/2005/8/layout/cycle2"/>
    <dgm:cxn modelId="{23D94D78-4520-4BCB-80F8-8853EE004627}" type="presOf" srcId="{8B18D84D-BD93-4C97-BC46-80CAA4FDCEED}" destId="{CAA3264C-5A31-496D-80EF-5EAEABBD1727}" srcOrd="0" destOrd="0" presId="urn:microsoft.com/office/officeart/2005/8/layout/cycle2"/>
    <dgm:cxn modelId="{4DD99880-3356-4D21-A2F8-8381012B7BCC}" type="presOf" srcId="{16D11246-2739-487B-8958-9BF6FBA2B1E4}" destId="{8CF106F9-F290-4408-BD4B-68DBC5A7215D}" srcOrd="0" destOrd="0" presId="urn:microsoft.com/office/officeart/2005/8/layout/cycle2"/>
    <dgm:cxn modelId="{62323683-9E94-460B-9B24-0DE23D060B48}" type="presOf" srcId="{55E1B66C-656E-4635-B9A5-2141C5A1E806}" destId="{19C90210-67B1-452A-81F9-5719DEB496D0}" srcOrd="1" destOrd="0" presId="urn:microsoft.com/office/officeart/2005/8/layout/cycle2"/>
    <dgm:cxn modelId="{E7577584-91A2-4858-B3F9-3842C464C25F}" srcId="{8B18D84D-BD93-4C97-BC46-80CAA4FDCEED}" destId="{E871F88C-2016-48D5-9A4C-FDA2093D1178}" srcOrd="0" destOrd="0" parTransId="{0F89365D-1042-4149-9730-75DA12E4C19A}" sibTransId="{55E1B66C-656E-4635-B9A5-2141C5A1E806}"/>
    <dgm:cxn modelId="{0FA4158C-5916-443E-8B33-A2CBF61A8ED9}" type="presOf" srcId="{16D11246-2739-487B-8958-9BF6FBA2B1E4}" destId="{43A3FB92-DDD4-42F2-B0DF-86552D1E2A32}" srcOrd="1" destOrd="0" presId="urn:microsoft.com/office/officeart/2005/8/layout/cycle2"/>
    <dgm:cxn modelId="{48047E9A-4904-451F-B4AF-FEC883116035}" type="presOf" srcId="{55E1B66C-656E-4635-B9A5-2141C5A1E806}" destId="{661F249F-EE55-4AF9-9CC2-5292F24B97D1}" srcOrd="0" destOrd="0" presId="urn:microsoft.com/office/officeart/2005/8/layout/cycle2"/>
    <dgm:cxn modelId="{E2F8D1B5-9A4B-45C5-B99A-7AD3B4160204}" srcId="{8B18D84D-BD93-4C97-BC46-80CAA4FDCEED}" destId="{45BD7934-AE01-4BEB-BF6B-4A233FFC8D56}" srcOrd="4" destOrd="0" parTransId="{9671F3D1-207C-44B7-9418-B2DA4414BE82}" sibTransId="{CF6C61BC-0D3A-4725-8333-8A9CFF8DAF69}"/>
    <dgm:cxn modelId="{6C2D76B6-6DC3-462B-82EC-BB24ADA5CEB5}" srcId="{8B18D84D-BD93-4C97-BC46-80CAA4FDCEED}" destId="{AC7ECD8D-D332-472C-8CD2-B60F1C212C55}" srcOrd="3" destOrd="0" parTransId="{E60A752F-6CC9-4E78-90AC-8EED5DC0B192}" sibTransId="{0B340EFC-DCFF-4BC3-B6EE-40A581187396}"/>
    <dgm:cxn modelId="{41304BC3-C039-4953-B596-40B030C5CF3A}" type="presOf" srcId="{241B3399-EDF4-4645-8C46-F6959C3AA6F5}" destId="{E07E9706-5AD4-4B7F-958D-2283864DF303}" srcOrd="0" destOrd="0" presId="urn:microsoft.com/office/officeart/2005/8/layout/cycle2"/>
    <dgm:cxn modelId="{997B65CE-4459-4730-9CB8-212B69BD5749}" type="presOf" srcId="{3FB8A314-F84E-481A-ABE4-6D666A900CD6}" destId="{758A3713-F5C1-4C6A-AA35-AB409C237162}" srcOrd="0" destOrd="0" presId="urn:microsoft.com/office/officeart/2005/8/layout/cycle2"/>
    <dgm:cxn modelId="{BDD763EC-AA2A-40DF-8A6F-E9689A403C30}" type="presOf" srcId="{CF6C61BC-0D3A-4725-8333-8A9CFF8DAF69}" destId="{2BF6A18B-86C4-402D-87E2-5FC603D90A89}" srcOrd="0" destOrd="0" presId="urn:microsoft.com/office/officeart/2005/8/layout/cycle2"/>
    <dgm:cxn modelId="{E1E62E1A-5027-48A3-9CA4-72B5481AC183}" type="presParOf" srcId="{CAA3264C-5A31-496D-80EF-5EAEABBD1727}" destId="{64767B5A-9151-4F5B-9557-703EBF63FA06}" srcOrd="0" destOrd="0" presId="urn:microsoft.com/office/officeart/2005/8/layout/cycle2"/>
    <dgm:cxn modelId="{2B5537D3-1651-451A-BC55-FE0E69DADF27}" type="presParOf" srcId="{CAA3264C-5A31-496D-80EF-5EAEABBD1727}" destId="{661F249F-EE55-4AF9-9CC2-5292F24B97D1}" srcOrd="1" destOrd="0" presId="urn:microsoft.com/office/officeart/2005/8/layout/cycle2"/>
    <dgm:cxn modelId="{ED186790-6E73-4A4E-99E2-6579E88256F9}" type="presParOf" srcId="{661F249F-EE55-4AF9-9CC2-5292F24B97D1}" destId="{19C90210-67B1-452A-81F9-5719DEB496D0}" srcOrd="0" destOrd="0" presId="urn:microsoft.com/office/officeart/2005/8/layout/cycle2"/>
    <dgm:cxn modelId="{1BCD1EBE-A727-4ED5-9AE8-6EADE325B135}" type="presParOf" srcId="{CAA3264C-5A31-496D-80EF-5EAEABBD1727}" destId="{758A3713-F5C1-4C6A-AA35-AB409C237162}" srcOrd="2" destOrd="0" presId="urn:microsoft.com/office/officeart/2005/8/layout/cycle2"/>
    <dgm:cxn modelId="{99430F48-047C-49E4-83A9-7E782D6ACB5E}" type="presParOf" srcId="{CAA3264C-5A31-496D-80EF-5EAEABBD1727}" destId="{8CF106F9-F290-4408-BD4B-68DBC5A7215D}" srcOrd="3" destOrd="0" presId="urn:microsoft.com/office/officeart/2005/8/layout/cycle2"/>
    <dgm:cxn modelId="{87F280C8-CEEA-47F1-8690-6109D83A25EC}" type="presParOf" srcId="{8CF106F9-F290-4408-BD4B-68DBC5A7215D}" destId="{43A3FB92-DDD4-42F2-B0DF-86552D1E2A32}" srcOrd="0" destOrd="0" presId="urn:microsoft.com/office/officeart/2005/8/layout/cycle2"/>
    <dgm:cxn modelId="{92C4C1C0-2E60-4852-B6BE-23BFBB9D14A2}" type="presParOf" srcId="{CAA3264C-5A31-496D-80EF-5EAEABBD1727}" destId="{FEB1ECDE-3376-4600-8706-C4243B3CC794}" srcOrd="4" destOrd="0" presId="urn:microsoft.com/office/officeart/2005/8/layout/cycle2"/>
    <dgm:cxn modelId="{3C776A5A-7095-4B2A-BE59-10FD9E6CE453}" type="presParOf" srcId="{CAA3264C-5A31-496D-80EF-5EAEABBD1727}" destId="{E07E9706-5AD4-4B7F-958D-2283864DF303}" srcOrd="5" destOrd="0" presId="urn:microsoft.com/office/officeart/2005/8/layout/cycle2"/>
    <dgm:cxn modelId="{5405F68A-A4A8-4188-8F1A-E979F16B936E}" type="presParOf" srcId="{E07E9706-5AD4-4B7F-958D-2283864DF303}" destId="{E8CC6634-DA6C-4D4B-B09C-DC61F53E57D1}" srcOrd="0" destOrd="0" presId="urn:microsoft.com/office/officeart/2005/8/layout/cycle2"/>
    <dgm:cxn modelId="{1B306DB1-11D6-4B01-B444-8F3C42ACEDF0}" type="presParOf" srcId="{CAA3264C-5A31-496D-80EF-5EAEABBD1727}" destId="{734B4AB0-FCE2-4BDA-B343-ADE4DA0172FF}" srcOrd="6" destOrd="0" presId="urn:microsoft.com/office/officeart/2005/8/layout/cycle2"/>
    <dgm:cxn modelId="{D1B2209A-373D-4367-87AF-4B1CA33B76A7}" type="presParOf" srcId="{CAA3264C-5A31-496D-80EF-5EAEABBD1727}" destId="{1C70D44A-A4FB-47A7-9A5B-E1FD8B9604F6}" srcOrd="7" destOrd="0" presId="urn:microsoft.com/office/officeart/2005/8/layout/cycle2"/>
    <dgm:cxn modelId="{13817438-C9FA-4394-B8F2-6A635284E219}" type="presParOf" srcId="{1C70D44A-A4FB-47A7-9A5B-E1FD8B9604F6}" destId="{0BBCAA6D-3926-47D5-9565-19129CA3F6DF}" srcOrd="0" destOrd="0" presId="urn:microsoft.com/office/officeart/2005/8/layout/cycle2"/>
    <dgm:cxn modelId="{DD9E8ACC-76AD-4FF4-971A-522B20406B22}" type="presParOf" srcId="{CAA3264C-5A31-496D-80EF-5EAEABBD1727}" destId="{528F03D9-CA44-4508-9D34-12EEEA826110}" srcOrd="8" destOrd="0" presId="urn:microsoft.com/office/officeart/2005/8/layout/cycle2"/>
    <dgm:cxn modelId="{8AA8AE68-17FE-41A3-9E60-A64E8A96AB12}" type="presParOf" srcId="{CAA3264C-5A31-496D-80EF-5EAEABBD1727}" destId="{2BF6A18B-86C4-402D-87E2-5FC603D90A89}" srcOrd="9" destOrd="0" presId="urn:microsoft.com/office/officeart/2005/8/layout/cycle2"/>
    <dgm:cxn modelId="{AC21D1A0-AE96-4A80-B5D8-03C9CD22D5A8}" type="presParOf" srcId="{2BF6A18B-86C4-402D-87E2-5FC603D90A89}" destId="{07147648-4522-45B4-9C43-E2484AEAFD9F}"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EC9F7476-1272-4243-A3ED-E614BF5C4946}" type="doc">
      <dgm:prSet loTypeId="urn:microsoft.com/office/officeart/2005/8/layout/hProcess9" loCatId="process" qsTypeId="urn:microsoft.com/office/officeart/2005/8/quickstyle/simple1" qsCatId="simple" csTypeId="urn:microsoft.com/office/officeart/2005/8/colors/accent1_2" csCatId="accent1"/>
      <dgm:spPr/>
      <dgm:t>
        <a:bodyPr/>
        <a:lstStyle/>
        <a:p>
          <a:endParaRPr lang="en-US"/>
        </a:p>
      </dgm:t>
    </dgm:pt>
    <dgm:pt modelId="{57CF2A2A-9E97-484D-982B-CE4AA9F3F6CE}">
      <dgm:prSet custT="1"/>
      <dgm:spPr/>
      <dgm:t>
        <a:bodyPr/>
        <a:lstStyle/>
        <a:p>
          <a:r>
            <a:rPr lang="en-US" sz="2400" baseline="0" dirty="0"/>
            <a:t>Setup a storage account and container.</a:t>
          </a:r>
          <a:endParaRPr lang="en-US" sz="2400" dirty="0"/>
        </a:p>
      </dgm:t>
    </dgm:pt>
    <dgm:pt modelId="{B71438A4-EE59-4CF7-8CF3-FCB83DCB2945}" type="parTrans" cxnId="{A41A5A47-C15E-4649-8A31-FE4C6FECC2F1}">
      <dgm:prSet/>
      <dgm:spPr/>
      <dgm:t>
        <a:bodyPr/>
        <a:lstStyle/>
        <a:p>
          <a:endParaRPr lang="en-US"/>
        </a:p>
      </dgm:t>
    </dgm:pt>
    <dgm:pt modelId="{88EC48A6-C28B-4EC3-A908-F474B38EA628}" type="sibTrans" cxnId="{A41A5A47-C15E-4649-8A31-FE4C6FECC2F1}">
      <dgm:prSet/>
      <dgm:spPr/>
      <dgm:t>
        <a:bodyPr/>
        <a:lstStyle/>
        <a:p>
          <a:endParaRPr lang="en-US"/>
        </a:p>
      </dgm:t>
    </dgm:pt>
    <dgm:pt modelId="{3CDA19AB-9081-426E-A118-DB3A40C27795}">
      <dgm:prSet custT="1"/>
      <dgm:spPr/>
      <dgm:t>
        <a:bodyPr/>
        <a:lstStyle/>
        <a:p>
          <a:r>
            <a:rPr lang="en-US" sz="2400" baseline="0" dirty="0"/>
            <a:t>Enable access to storage from SQL Database.</a:t>
          </a:r>
          <a:endParaRPr lang="en-US" sz="2400" dirty="0"/>
        </a:p>
      </dgm:t>
    </dgm:pt>
    <dgm:pt modelId="{9FA4BC2F-7AE8-4E79-A5F1-68073A1C886F}" type="parTrans" cxnId="{EFCFC19D-9ABB-4482-A937-0D804C4E750A}">
      <dgm:prSet/>
      <dgm:spPr/>
      <dgm:t>
        <a:bodyPr/>
        <a:lstStyle/>
        <a:p>
          <a:endParaRPr lang="en-US"/>
        </a:p>
      </dgm:t>
    </dgm:pt>
    <dgm:pt modelId="{1929CF16-1576-4219-8979-C2366C2A52DA}" type="sibTrans" cxnId="{EFCFC19D-9ABB-4482-A937-0D804C4E750A}">
      <dgm:prSet/>
      <dgm:spPr/>
      <dgm:t>
        <a:bodyPr/>
        <a:lstStyle/>
        <a:p>
          <a:endParaRPr lang="en-US"/>
        </a:p>
      </dgm:t>
    </dgm:pt>
    <dgm:pt modelId="{C0F280FC-7BB6-4B24-B188-E28F9A7E4608}">
      <dgm:prSet custT="1"/>
      <dgm:spPr/>
      <dgm:t>
        <a:bodyPr/>
        <a:lstStyle/>
        <a:p>
          <a:r>
            <a:rPr lang="en-US" sz="2400" baseline="0" dirty="0"/>
            <a:t>Collect Data using Extended Events.</a:t>
          </a:r>
          <a:endParaRPr lang="en-US" sz="2400" dirty="0"/>
        </a:p>
      </dgm:t>
    </dgm:pt>
    <dgm:pt modelId="{62B39C19-3501-43F3-9366-8B723AE86F9A}" type="parTrans" cxnId="{46B8FC4F-3EA7-4F33-8E2D-2564A5080C9F}">
      <dgm:prSet/>
      <dgm:spPr/>
      <dgm:t>
        <a:bodyPr/>
        <a:lstStyle/>
        <a:p>
          <a:endParaRPr lang="en-US"/>
        </a:p>
      </dgm:t>
    </dgm:pt>
    <dgm:pt modelId="{B1435A50-13E6-4563-92DC-D60145E49FF2}" type="sibTrans" cxnId="{46B8FC4F-3EA7-4F33-8E2D-2564A5080C9F}">
      <dgm:prSet/>
      <dgm:spPr/>
      <dgm:t>
        <a:bodyPr/>
        <a:lstStyle/>
        <a:p>
          <a:endParaRPr lang="en-US"/>
        </a:p>
      </dgm:t>
    </dgm:pt>
    <dgm:pt modelId="{53BC761E-C1AB-4F62-94A8-1F96F966D08A}" type="pres">
      <dgm:prSet presAssocID="{EC9F7476-1272-4243-A3ED-E614BF5C4946}" presName="CompostProcess" presStyleCnt="0">
        <dgm:presLayoutVars>
          <dgm:dir/>
          <dgm:resizeHandles val="exact"/>
        </dgm:presLayoutVars>
      </dgm:prSet>
      <dgm:spPr/>
    </dgm:pt>
    <dgm:pt modelId="{E931C993-934A-4ED4-A19C-A18047CCA6D1}" type="pres">
      <dgm:prSet presAssocID="{EC9F7476-1272-4243-A3ED-E614BF5C4946}" presName="arrow" presStyleLbl="bgShp" presStyleIdx="0" presStyleCnt="1"/>
      <dgm:spPr/>
    </dgm:pt>
    <dgm:pt modelId="{C481D454-16B8-4534-9E4F-E3962839DE65}" type="pres">
      <dgm:prSet presAssocID="{EC9F7476-1272-4243-A3ED-E614BF5C4946}" presName="linearProcess" presStyleCnt="0"/>
      <dgm:spPr/>
    </dgm:pt>
    <dgm:pt modelId="{0FE972B3-44D1-417B-B3C8-2136F2CBF0E7}" type="pres">
      <dgm:prSet presAssocID="{57CF2A2A-9E97-484D-982B-CE4AA9F3F6CE}" presName="textNode" presStyleLbl="node1" presStyleIdx="0" presStyleCnt="3">
        <dgm:presLayoutVars>
          <dgm:bulletEnabled val="1"/>
        </dgm:presLayoutVars>
      </dgm:prSet>
      <dgm:spPr/>
    </dgm:pt>
    <dgm:pt modelId="{2EBDEC6E-BACC-4C3B-99B3-B41FEC50D3AF}" type="pres">
      <dgm:prSet presAssocID="{88EC48A6-C28B-4EC3-A908-F474B38EA628}" presName="sibTrans" presStyleCnt="0"/>
      <dgm:spPr/>
    </dgm:pt>
    <dgm:pt modelId="{852B3AD2-66CF-4EA4-91B3-C25C88C10FFD}" type="pres">
      <dgm:prSet presAssocID="{3CDA19AB-9081-426E-A118-DB3A40C27795}" presName="textNode" presStyleLbl="node1" presStyleIdx="1" presStyleCnt="3">
        <dgm:presLayoutVars>
          <dgm:bulletEnabled val="1"/>
        </dgm:presLayoutVars>
      </dgm:prSet>
      <dgm:spPr/>
    </dgm:pt>
    <dgm:pt modelId="{F9AEA434-725C-4804-98DB-BE9B6FC7961A}" type="pres">
      <dgm:prSet presAssocID="{1929CF16-1576-4219-8979-C2366C2A52DA}" presName="sibTrans" presStyleCnt="0"/>
      <dgm:spPr/>
    </dgm:pt>
    <dgm:pt modelId="{20D770EA-F7FD-4F9C-9296-0AC2688E505E}" type="pres">
      <dgm:prSet presAssocID="{C0F280FC-7BB6-4B24-B188-E28F9A7E4608}" presName="textNode" presStyleLbl="node1" presStyleIdx="2" presStyleCnt="3">
        <dgm:presLayoutVars>
          <dgm:bulletEnabled val="1"/>
        </dgm:presLayoutVars>
      </dgm:prSet>
      <dgm:spPr/>
    </dgm:pt>
  </dgm:ptLst>
  <dgm:cxnLst>
    <dgm:cxn modelId="{A41A5A47-C15E-4649-8A31-FE4C6FECC2F1}" srcId="{EC9F7476-1272-4243-A3ED-E614BF5C4946}" destId="{57CF2A2A-9E97-484D-982B-CE4AA9F3F6CE}" srcOrd="0" destOrd="0" parTransId="{B71438A4-EE59-4CF7-8CF3-FCB83DCB2945}" sibTransId="{88EC48A6-C28B-4EC3-A908-F474B38EA628}"/>
    <dgm:cxn modelId="{46B8FC4F-3EA7-4F33-8E2D-2564A5080C9F}" srcId="{EC9F7476-1272-4243-A3ED-E614BF5C4946}" destId="{C0F280FC-7BB6-4B24-B188-E28F9A7E4608}" srcOrd="2" destOrd="0" parTransId="{62B39C19-3501-43F3-9366-8B723AE86F9A}" sibTransId="{B1435A50-13E6-4563-92DC-D60145E49FF2}"/>
    <dgm:cxn modelId="{5E416575-C139-4AAE-AAD6-B40A85EE5678}" type="presOf" srcId="{EC9F7476-1272-4243-A3ED-E614BF5C4946}" destId="{53BC761E-C1AB-4F62-94A8-1F96F966D08A}" srcOrd="0" destOrd="0" presId="urn:microsoft.com/office/officeart/2005/8/layout/hProcess9"/>
    <dgm:cxn modelId="{3744BE7A-97F6-4A76-B4C6-8D93F3B18FCA}" type="presOf" srcId="{57CF2A2A-9E97-484D-982B-CE4AA9F3F6CE}" destId="{0FE972B3-44D1-417B-B3C8-2136F2CBF0E7}" srcOrd="0" destOrd="0" presId="urn:microsoft.com/office/officeart/2005/8/layout/hProcess9"/>
    <dgm:cxn modelId="{EFCFC19D-9ABB-4482-A937-0D804C4E750A}" srcId="{EC9F7476-1272-4243-A3ED-E614BF5C4946}" destId="{3CDA19AB-9081-426E-A118-DB3A40C27795}" srcOrd="1" destOrd="0" parTransId="{9FA4BC2F-7AE8-4E79-A5F1-68073A1C886F}" sibTransId="{1929CF16-1576-4219-8979-C2366C2A52DA}"/>
    <dgm:cxn modelId="{609EC3A5-49DF-46B0-82C1-BF0DD8E55343}" type="presOf" srcId="{3CDA19AB-9081-426E-A118-DB3A40C27795}" destId="{852B3AD2-66CF-4EA4-91B3-C25C88C10FFD}" srcOrd="0" destOrd="0" presId="urn:microsoft.com/office/officeart/2005/8/layout/hProcess9"/>
    <dgm:cxn modelId="{26996AB6-5AEE-463B-884D-49629AED4EC3}" type="presOf" srcId="{C0F280FC-7BB6-4B24-B188-E28F9A7E4608}" destId="{20D770EA-F7FD-4F9C-9296-0AC2688E505E}" srcOrd="0" destOrd="0" presId="urn:microsoft.com/office/officeart/2005/8/layout/hProcess9"/>
    <dgm:cxn modelId="{BBF12486-0C37-4E5D-BDFE-5D53B0AE8664}" type="presParOf" srcId="{53BC761E-C1AB-4F62-94A8-1F96F966D08A}" destId="{E931C993-934A-4ED4-A19C-A18047CCA6D1}" srcOrd="0" destOrd="0" presId="urn:microsoft.com/office/officeart/2005/8/layout/hProcess9"/>
    <dgm:cxn modelId="{1221EAA7-6E29-4B63-87AC-8323F3D4C511}" type="presParOf" srcId="{53BC761E-C1AB-4F62-94A8-1F96F966D08A}" destId="{C481D454-16B8-4534-9E4F-E3962839DE65}" srcOrd="1" destOrd="0" presId="urn:microsoft.com/office/officeart/2005/8/layout/hProcess9"/>
    <dgm:cxn modelId="{FA53997B-B12A-4E33-8FEF-9343F8BD6D22}" type="presParOf" srcId="{C481D454-16B8-4534-9E4F-E3962839DE65}" destId="{0FE972B3-44D1-417B-B3C8-2136F2CBF0E7}" srcOrd="0" destOrd="0" presId="urn:microsoft.com/office/officeart/2005/8/layout/hProcess9"/>
    <dgm:cxn modelId="{47CE39DC-04B5-40BC-881E-1923667A3353}" type="presParOf" srcId="{C481D454-16B8-4534-9E4F-E3962839DE65}" destId="{2EBDEC6E-BACC-4C3B-99B3-B41FEC50D3AF}" srcOrd="1" destOrd="0" presId="urn:microsoft.com/office/officeart/2005/8/layout/hProcess9"/>
    <dgm:cxn modelId="{2A9DD93B-6589-418D-AEF1-3B13824F2C62}" type="presParOf" srcId="{C481D454-16B8-4534-9E4F-E3962839DE65}" destId="{852B3AD2-66CF-4EA4-91B3-C25C88C10FFD}" srcOrd="2" destOrd="0" presId="urn:microsoft.com/office/officeart/2005/8/layout/hProcess9"/>
    <dgm:cxn modelId="{B3A06E87-E05A-4D9E-B18B-BB74BE0E583A}" type="presParOf" srcId="{C481D454-16B8-4534-9E4F-E3962839DE65}" destId="{F9AEA434-725C-4804-98DB-BE9B6FC7961A}" srcOrd="3" destOrd="0" presId="urn:microsoft.com/office/officeart/2005/8/layout/hProcess9"/>
    <dgm:cxn modelId="{2B97C554-E6E8-4C3A-9044-D18A7E3015B9}" type="presParOf" srcId="{C481D454-16B8-4534-9E4F-E3962839DE65}" destId="{20D770EA-F7FD-4F9C-9296-0AC2688E505E}"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06614882-026D-4CD9-92F2-7DD610F027DF}" type="doc">
      <dgm:prSet loTypeId="urn:microsoft.com/office/officeart/2005/8/layout/process1" loCatId="process" qsTypeId="urn:microsoft.com/office/officeart/2005/8/quickstyle/simple1" qsCatId="simple" csTypeId="urn:microsoft.com/office/officeart/2005/8/colors/accent1_2" csCatId="accent1"/>
      <dgm:spPr/>
      <dgm:t>
        <a:bodyPr/>
        <a:lstStyle/>
        <a:p>
          <a:endParaRPr lang="en-US"/>
        </a:p>
      </dgm:t>
    </dgm:pt>
    <dgm:pt modelId="{4214E83E-E098-4569-B521-69B9C2EB29FD}">
      <dgm:prSet/>
      <dgm:spPr/>
      <dgm:t>
        <a:bodyPr/>
        <a:lstStyle/>
        <a:p>
          <a:r>
            <a:rPr lang="en-US" baseline="0"/>
            <a:t>You need to create a Shared Acces Signature on the Storage account.</a:t>
          </a:r>
          <a:endParaRPr lang="en-US"/>
        </a:p>
      </dgm:t>
    </dgm:pt>
    <dgm:pt modelId="{E84C1CF1-02D2-4D06-9CCA-D754786BC394}" type="parTrans" cxnId="{AAED7B43-B4D5-4784-899D-5D046985A68C}">
      <dgm:prSet/>
      <dgm:spPr/>
      <dgm:t>
        <a:bodyPr/>
        <a:lstStyle/>
        <a:p>
          <a:endParaRPr lang="en-US"/>
        </a:p>
      </dgm:t>
    </dgm:pt>
    <dgm:pt modelId="{8673F7DA-CDF4-4E26-90BF-AF5D202D643A}" type="sibTrans" cxnId="{AAED7B43-B4D5-4784-899D-5D046985A68C}">
      <dgm:prSet/>
      <dgm:spPr/>
      <dgm:t>
        <a:bodyPr/>
        <a:lstStyle/>
        <a:p>
          <a:endParaRPr lang="en-US"/>
        </a:p>
      </dgm:t>
    </dgm:pt>
    <dgm:pt modelId="{76F79094-20AC-4BFE-AE5C-75808FB7FA4C}">
      <dgm:prSet/>
      <dgm:spPr/>
      <dgm:t>
        <a:bodyPr/>
        <a:lstStyle/>
        <a:p>
          <a:r>
            <a:rPr lang="en-US" baseline="0"/>
            <a:t>It provides delegated access to resources in your storage account. </a:t>
          </a:r>
          <a:endParaRPr lang="en-US"/>
        </a:p>
      </dgm:t>
    </dgm:pt>
    <dgm:pt modelId="{BEB05568-AA94-4519-A09E-07A016CCAB32}" type="parTrans" cxnId="{C7457329-52E5-4691-9004-962A5866F75F}">
      <dgm:prSet/>
      <dgm:spPr/>
      <dgm:t>
        <a:bodyPr/>
        <a:lstStyle/>
        <a:p>
          <a:endParaRPr lang="en-US"/>
        </a:p>
      </dgm:t>
    </dgm:pt>
    <dgm:pt modelId="{41F27E50-3E0E-46BF-B26C-9086ACAB1D44}" type="sibTrans" cxnId="{C7457329-52E5-4691-9004-962A5866F75F}">
      <dgm:prSet/>
      <dgm:spPr/>
      <dgm:t>
        <a:bodyPr/>
        <a:lstStyle/>
        <a:p>
          <a:endParaRPr lang="en-US"/>
        </a:p>
      </dgm:t>
    </dgm:pt>
    <dgm:pt modelId="{E1115904-4796-49DC-953C-441BB8F7B73D}">
      <dgm:prSet/>
      <dgm:spPr/>
      <dgm:t>
        <a:bodyPr/>
        <a:lstStyle/>
        <a:p>
          <a:r>
            <a:rPr lang="en-US" baseline="0"/>
            <a:t>Grant client's access to resources in your storage account, without sharing your account keys. </a:t>
          </a:r>
          <a:endParaRPr lang="en-US"/>
        </a:p>
      </dgm:t>
    </dgm:pt>
    <dgm:pt modelId="{BDD64E0C-F0ED-4C62-8524-D80893C9CCEC}" type="parTrans" cxnId="{CEB239F9-BD9C-4EF7-AD8E-0A8439FF1ABB}">
      <dgm:prSet/>
      <dgm:spPr/>
      <dgm:t>
        <a:bodyPr/>
        <a:lstStyle/>
        <a:p>
          <a:endParaRPr lang="en-US"/>
        </a:p>
      </dgm:t>
    </dgm:pt>
    <dgm:pt modelId="{6DB4EB2E-9FAE-447A-BCDF-DCCDA5A1B8F8}" type="sibTrans" cxnId="{CEB239F9-BD9C-4EF7-AD8E-0A8439FF1ABB}">
      <dgm:prSet/>
      <dgm:spPr/>
      <dgm:t>
        <a:bodyPr/>
        <a:lstStyle/>
        <a:p>
          <a:endParaRPr lang="en-US"/>
        </a:p>
      </dgm:t>
    </dgm:pt>
    <dgm:pt modelId="{EBEEE9CC-0A6B-47A6-BBF2-D04AA9CFC686}">
      <dgm:prSet/>
      <dgm:spPr/>
      <dgm:t>
        <a:bodyPr/>
        <a:lstStyle/>
        <a:p>
          <a:r>
            <a:rPr lang="en-US" baseline="0"/>
            <a:t>For Xevents you need to Read, Write &amp; List permissions.</a:t>
          </a:r>
          <a:endParaRPr lang="en-US"/>
        </a:p>
      </dgm:t>
    </dgm:pt>
    <dgm:pt modelId="{AA1E8353-E21D-4777-99F3-C25D92993C85}" type="parTrans" cxnId="{A215E8EB-17FC-487E-B216-F6F0B6E79BA9}">
      <dgm:prSet/>
      <dgm:spPr/>
      <dgm:t>
        <a:bodyPr/>
        <a:lstStyle/>
        <a:p>
          <a:endParaRPr lang="en-US"/>
        </a:p>
      </dgm:t>
    </dgm:pt>
    <dgm:pt modelId="{DA41C74F-801D-4A20-99C7-FB40D35F6890}" type="sibTrans" cxnId="{A215E8EB-17FC-487E-B216-F6F0B6E79BA9}">
      <dgm:prSet/>
      <dgm:spPr/>
      <dgm:t>
        <a:bodyPr/>
        <a:lstStyle/>
        <a:p>
          <a:endParaRPr lang="en-US"/>
        </a:p>
      </dgm:t>
    </dgm:pt>
    <dgm:pt modelId="{4030F987-691B-450D-BDC0-62ABC89D194C}">
      <dgm:prSet/>
      <dgm:spPr/>
      <dgm:t>
        <a:bodyPr/>
        <a:lstStyle/>
        <a:p>
          <a:r>
            <a:rPr lang="en-US" baseline="0"/>
            <a:t>Use Azure Storage Explorer or Azure Portal to create SAS Token.</a:t>
          </a:r>
          <a:endParaRPr lang="en-US"/>
        </a:p>
      </dgm:t>
    </dgm:pt>
    <dgm:pt modelId="{80284D74-27E6-4989-837C-2AAC0F80BA12}" type="parTrans" cxnId="{4EFFFFE6-B706-4CCA-B408-FACDFD2EA4DC}">
      <dgm:prSet/>
      <dgm:spPr/>
      <dgm:t>
        <a:bodyPr/>
        <a:lstStyle/>
        <a:p>
          <a:endParaRPr lang="en-US"/>
        </a:p>
      </dgm:t>
    </dgm:pt>
    <dgm:pt modelId="{32238F21-72FA-4DEC-BC60-A71ACABB1886}" type="sibTrans" cxnId="{4EFFFFE6-B706-4CCA-B408-FACDFD2EA4DC}">
      <dgm:prSet/>
      <dgm:spPr/>
      <dgm:t>
        <a:bodyPr/>
        <a:lstStyle/>
        <a:p>
          <a:endParaRPr lang="en-US"/>
        </a:p>
      </dgm:t>
    </dgm:pt>
    <dgm:pt modelId="{488E19EB-E5CC-4AC5-8A0F-43AF2755FF57}" type="pres">
      <dgm:prSet presAssocID="{06614882-026D-4CD9-92F2-7DD610F027DF}" presName="Name0" presStyleCnt="0">
        <dgm:presLayoutVars>
          <dgm:dir/>
          <dgm:resizeHandles val="exact"/>
        </dgm:presLayoutVars>
      </dgm:prSet>
      <dgm:spPr/>
    </dgm:pt>
    <dgm:pt modelId="{BBA2035E-0D98-43D6-8C2B-90DD0BA12158}" type="pres">
      <dgm:prSet presAssocID="{4214E83E-E098-4569-B521-69B9C2EB29FD}" presName="node" presStyleLbl="node1" presStyleIdx="0" presStyleCnt="5">
        <dgm:presLayoutVars>
          <dgm:bulletEnabled val="1"/>
        </dgm:presLayoutVars>
      </dgm:prSet>
      <dgm:spPr/>
    </dgm:pt>
    <dgm:pt modelId="{0D8D8A94-144B-41D1-BE97-C83924B1F547}" type="pres">
      <dgm:prSet presAssocID="{8673F7DA-CDF4-4E26-90BF-AF5D202D643A}" presName="sibTrans" presStyleLbl="sibTrans2D1" presStyleIdx="0" presStyleCnt="4"/>
      <dgm:spPr/>
    </dgm:pt>
    <dgm:pt modelId="{410E1EC8-323A-48BC-9C16-65C7D9F3DAF7}" type="pres">
      <dgm:prSet presAssocID="{8673F7DA-CDF4-4E26-90BF-AF5D202D643A}" presName="connectorText" presStyleLbl="sibTrans2D1" presStyleIdx="0" presStyleCnt="4"/>
      <dgm:spPr/>
    </dgm:pt>
    <dgm:pt modelId="{F1480059-683D-4909-B8B3-9A27511204A5}" type="pres">
      <dgm:prSet presAssocID="{76F79094-20AC-4BFE-AE5C-75808FB7FA4C}" presName="node" presStyleLbl="node1" presStyleIdx="1" presStyleCnt="5">
        <dgm:presLayoutVars>
          <dgm:bulletEnabled val="1"/>
        </dgm:presLayoutVars>
      </dgm:prSet>
      <dgm:spPr/>
    </dgm:pt>
    <dgm:pt modelId="{366C3DB9-CCDF-4767-A49E-42C2391F9BB6}" type="pres">
      <dgm:prSet presAssocID="{41F27E50-3E0E-46BF-B26C-9086ACAB1D44}" presName="sibTrans" presStyleLbl="sibTrans2D1" presStyleIdx="1" presStyleCnt="4"/>
      <dgm:spPr/>
    </dgm:pt>
    <dgm:pt modelId="{CF73ED7B-EB69-4E76-B9A6-92CFAC1CA3CC}" type="pres">
      <dgm:prSet presAssocID="{41F27E50-3E0E-46BF-B26C-9086ACAB1D44}" presName="connectorText" presStyleLbl="sibTrans2D1" presStyleIdx="1" presStyleCnt="4"/>
      <dgm:spPr/>
    </dgm:pt>
    <dgm:pt modelId="{81C271A1-B8E6-41B9-B033-8E6CDBBBFEBD}" type="pres">
      <dgm:prSet presAssocID="{E1115904-4796-49DC-953C-441BB8F7B73D}" presName="node" presStyleLbl="node1" presStyleIdx="2" presStyleCnt="5">
        <dgm:presLayoutVars>
          <dgm:bulletEnabled val="1"/>
        </dgm:presLayoutVars>
      </dgm:prSet>
      <dgm:spPr/>
    </dgm:pt>
    <dgm:pt modelId="{6E8A2EA4-332D-4381-88D2-7431756F7C4A}" type="pres">
      <dgm:prSet presAssocID="{6DB4EB2E-9FAE-447A-BCDF-DCCDA5A1B8F8}" presName="sibTrans" presStyleLbl="sibTrans2D1" presStyleIdx="2" presStyleCnt="4"/>
      <dgm:spPr/>
    </dgm:pt>
    <dgm:pt modelId="{E1793A9B-6C2E-4E2C-A58F-F77521AFC407}" type="pres">
      <dgm:prSet presAssocID="{6DB4EB2E-9FAE-447A-BCDF-DCCDA5A1B8F8}" presName="connectorText" presStyleLbl="sibTrans2D1" presStyleIdx="2" presStyleCnt="4"/>
      <dgm:spPr/>
    </dgm:pt>
    <dgm:pt modelId="{8B02AB5B-19BD-4660-A63B-AE2313BD3D54}" type="pres">
      <dgm:prSet presAssocID="{EBEEE9CC-0A6B-47A6-BBF2-D04AA9CFC686}" presName="node" presStyleLbl="node1" presStyleIdx="3" presStyleCnt="5">
        <dgm:presLayoutVars>
          <dgm:bulletEnabled val="1"/>
        </dgm:presLayoutVars>
      </dgm:prSet>
      <dgm:spPr/>
    </dgm:pt>
    <dgm:pt modelId="{32966E18-608D-4B5F-B4FB-CA3D1BAB35BF}" type="pres">
      <dgm:prSet presAssocID="{DA41C74F-801D-4A20-99C7-FB40D35F6890}" presName="sibTrans" presStyleLbl="sibTrans2D1" presStyleIdx="3" presStyleCnt="4"/>
      <dgm:spPr/>
    </dgm:pt>
    <dgm:pt modelId="{B74B6D86-9B15-4BB0-B1EC-C28C7A07214B}" type="pres">
      <dgm:prSet presAssocID="{DA41C74F-801D-4A20-99C7-FB40D35F6890}" presName="connectorText" presStyleLbl="sibTrans2D1" presStyleIdx="3" presStyleCnt="4"/>
      <dgm:spPr/>
    </dgm:pt>
    <dgm:pt modelId="{66488BD8-EE16-4789-801C-5CCEEA5A2382}" type="pres">
      <dgm:prSet presAssocID="{4030F987-691B-450D-BDC0-62ABC89D194C}" presName="node" presStyleLbl="node1" presStyleIdx="4" presStyleCnt="5">
        <dgm:presLayoutVars>
          <dgm:bulletEnabled val="1"/>
        </dgm:presLayoutVars>
      </dgm:prSet>
      <dgm:spPr/>
    </dgm:pt>
  </dgm:ptLst>
  <dgm:cxnLst>
    <dgm:cxn modelId="{311D9114-E3FD-4269-AF41-5684910CDFCE}" type="presOf" srcId="{E1115904-4796-49DC-953C-441BB8F7B73D}" destId="{81C271A1-B8E6-41B9-B033-8E6CDBBBFEBD}" srcOrd="0" destOrd="0" presId="urn:microsoft.com/office/officeart/2005/8/layout/process1"/>
    <dgm:cxn modelId="{5C0B0A1C-7AE3-45AC-9ADA-85FCA34F020C}" type="presOf" srcId="{DA41C74F-801D-4A20-99C7-FB40D35F6890}" destId="{32966E18-608D-4B5F-B4FB-CA3D1BAB35BF}" srcOrd="0" destOrd="0" presId="urn:microsoft.com/office/officeart/2005/8/layout/process1"/>
    <dgm:cxn modelId="{C7457329-52E5-4691-9004-962A5866F75F}" srcId="{06614882-026D-4CD9-92F2-7DD610F027DF}" destId="{76F79094-20AC-4BFE-AE5C-75808FB7FA4C}" srcOrd="1" destOrd="0" parTransId="{BEB05568-AA94-4519-A09E-07A016CCAB32}" sibTransId="{41F27E50-3E0E-46BF-B26C-9086ACAB1D44}"/>
    <dgm:cxn modelId="{6742EB3F-F484-4904-8719-00CD9609E262}" type="presOf" srcId="{8673F7DA-CDF4-4E26-90BF-AF5D202D643A}" destId="{410E1EC8-323A-48BC-9C16-65C7D9F3DAF7}" srcOrd="1" destOrd="0" presId="urn:microsoft.com/office/officeart/2005/8/layout/process1"/>
    <dgm:cxn modelId="{AAED7B43-B4D5-4784-899D-5D046985A68C}" srcId="{06614882-026D-4CD9-92F2-7DD610F027DF}" destId="{4214E83E-E098-4569-B521-69B9C2EB29FD}" srcOrd="0" destOrd="0" parTransId="{E84C1CF1-02D2-4D06-9CCA-D754786BC394}" sibTransId="{8673F7DA-CDF4-4E26-90BF-AF5D202D643A}"/>
    <dgm:cxn modelId="{85836547-B98C-44A9-A40C-29F891273C86}" type="presOf" srcId="{4214E83E-E098-4569-B521-69B9C2EB29FD}" destId="{BBA2035E-0D98-43D6-8C2B-90DD0BA12158}" srcOrd="0" destOrd="0" presId="urn:microsoft.com/office/officeart/2005/8/layout/process1"/>
    <dgm:cxn modelId="{E92A067F-685D-4564-B5ED-4B38C584A139}" type="presOf" srcId="{06614882-026D-4CD9-92F2-7DD610F027DF}" destId="{488E19EB-E5CC-4AC5-8A0F-43AF2755FF57}" srcOrd="0" destOrd="0" presId="urn:microsoft.com/office/officeart/2005/8/layout/process1"/>
    <dgm:cxn modelId="{80FCA18A-71BB-4681-934B-FC326B09471B}" type="presOf" srcId="{4030F987-691B-450D-BDC0-62ABC89D194C}" destId="{66488BD8-EE16-4789-801C-5CCEEA5A2382}" srcOrd="0" destOrd="0" presId="urn:microsoft.com/office/officeart/2005/8/layout/process1"/>
    <dgm:cxn modelId="{378B9097-445E-431C-A2EE-2CBB4C8EE336}" type="presOf" srcId="{6DB4EB2E-9FAE-447A-BCDF-DCCDA5A1B8F8}" destId="{E1793A9B-6C2E-4E2C-A58F-F77521AFC407}" srcOrd="1" destOrd="0" presId="urn:microsoft.com/office/officeart/2005/8/layout/process1"/>
    <dgm:cxn modelId="{3528459A-C9FE-4CF9-BF22-9B0965ED7041}" type="presOf" srcId="{8673F7DA-CDF4-4E26-90BF-AF5D202D643A}" destId="{0D8D8A94-144B-41D1-BE97-C83924B1F547}" srcOrd="0" destOrd="0" presId="urn:microsoft.com/office/officeart/2005/8/layout/process1"/>
    <dgm:cxn modelId="{5E8C47AE-4694-4B4F-B6B6-1F96863E0E10}" type="presOf" srcId="{EBEEE9CC-0A6B-47A6-BBF2-D04AA9CFC686}" destId="{8B02AB5B-19BD-4660-A63B-AE2313BD3D54}" srcOrd="0" destOrd="0" presId="urn:microsoft.com/office/officeart/2005/8/layout/process1"/>
    <dgm:cxn modelId="{E79168BC-D38B-4B67-B6CA-2D11333C965E}" type="presOf" srcId="{41F27E50-3E0E-46BF-B26C-9086ACAB1D44}" destId="{CF73ED7B-EB69-4E76-B9A6-92CFAC1CA3CC}" srcOrd="1" destOrd="0" presId="urn:microsoft.com/office/officeart/2005/8/layout/process1"/>
    <dgm:cxn modelId="{C3A161CF-D5B0-4B01-8A2C-50190552C6A9}" type="presOf" srcId="{41F27E50-3E0E-46BF-B26C-9086ACAB1D44}" destId="{366C3DB9-CCDF-4767-A49E-42C2391F9BB6}" srcOrd="0" destOrd="0" presId="urn:microsoft.com/office/officeart/2005/8/layout/process1"/>
    <dgm:cxn modelId="{3A91F9DF-FD0C-4B33-A1B3-33A9A2CA2159}" type="presOf" srcId="{6DB4EB2E-9FAE-447A-BCDF-DCCDA5A1B8F8}" destId="{6E8A2EA4-332D-4381-88D2-7431756F7C4A}" srcOrd="0" destOrd="0" presId="urn:microsoft.com/office/officeart/2005/8/layout/process1"/>
    <dgm:cxn modelId="{4EFFFFE6-B706-4CCA-B408-FACDFD2EA4DC}" srcId="{06614882-026D-4CD9-92F2-7DD610F027DF}" destId="{4030F987-691B-450D-BDC0-62ABC89D194C}" srcOrd="4" destOrd="0" parTransId="{80284D74-27E6-4989-837C-2AAC0F80BA12}" sibTransId="{32238F21-72FA-4DEC-BC60-A71ACABB1886}"/>
    <dgm:cxn modelId="{A215E8EB-17FC-487E-B216-F6F0B6E79BA9}" srcId="{06614882-026D-4CD9-92F2-7DD610F027DF}" destId="{EBEEE9CC-0A6B-47A6-BBF2-D04AA9CFC686}" srcOrd="3" destOrd="0" parTransId="{AA1E8353-E21D-4777-99F3-C25D92993C85}" sibTransId="{DA41C74F-801D-4A20-99C7-FB40D35F6890}"/>
    <dgm:cxn modelId="{33BDD6F6-E4C9-46FC-B322-49022E6E3E11}" type="presOf" srcId="{DA41C74F-801D-4A20-99C7-FB40D35F6890}" destId="{B74B6D86-9B15-4BB0-B1EC-C28C7A07214B}" srcOrd="1" destOrd="0" presId="urn:microsoft.com/office/officeart/2005/8/layout/process1"/>
    <dgm:cxn modelId="{CEB239F9-BD9C-4EF7-AD8E-0A8439FF1ABB}" srcId="{06614882-026D-4CD9-92F2-7DD610F027DF}" destId="{E1115904-4796-49DC-953C-441BB8F7B73D}" srcOrd="2" destOrd="0" parTransId="{BDD64E0C-F0ED-4C62-8524-D80893C9CCEC}" sibTransId="{6DB4EB2E-9FAE-447A-BCDF-DCCDA5A1B8F8}"/>
    <dgm:cxn modelId="{0850A7FF-B004-45DA-85A7-EAA1CA8BA7E7}" type="presOf" srcId="{76F79094-20AC-4BFE-AE5C-75808FB7FA4C}" destId="{F1480059-683D-4909-B8B3-9A27511204A5}" srcOrd="0" destOrd="0" presId="urn:microsoft.com/office/officeart/2005/8/layout/process1"/>
    <dgm:cxn modelId="{0F2DDA0C-AC90-4F5D-AB12-B80DC3A43C54}" type="presParOf" srcId="{488E19EB-E5CC-4AC5-8A0F-43AF2755FF57}" destId="{BBA2035E-0D98-43D6-8C2B-90DD0BA12158}" srcOrd="0" destOrd="0" presId="urn:microsoft.com/office/officeart/2005/8/layout/process1"/>
    <dgm:cxn modelId="{B0AE9500-4A73-4D46-8341-3381C4A681F5}" type="presParOf" srcId="{488E19EB-E5CC-4AC5-8A0F-43AF2755FF57}" destId="{0D8D8A94-144B-41D1-BE97-C83924B1F547}" srcOrd="1" destOrd="0" presId="urn:microsoft.com/office/officeart/2005/8/layout/process1"/>
    <dgm:cxn modelId="{24A48B8B-19F8-4CAC-8911-C1E3056C4AC0}" type="presParOf" srcId="{0D8D8A94-144B-41D1-BE97-C83924B1F547}" destId="{410E1EC8-323A-48BC-9C16-65C7D9F3DAF7}" srcOrd="0" destOrd="0" presId="urn:microsoft.com/office/officeart/2005/8/layout/process1"/>
    <dgm:cxn modelId="{922F0EA4-6B64-4DF6-8F25-AEDDEA8A5697}" type="presParOf" srcId="{488E19EB-E5CC-4AC5-8A0F-43AF2755FF57}" destId="{F1480059-683D-4909-B8B3-9A27511204A5}" srcOrd="2" destOrd="0" presId="urn:microsoft.com/office/officeart/2005/8/layout/process1"/>
    <dgm:cxn modelId="{61DB16D0-430D-4951-8459-D5510960BBED}" type="presParOf" srcId="{488E19EB-E5CC-4AC5-8A0F-43AF2755FF57}" destId="{366C3DB9-CCDF-4767-A49E-42C2391F9BB6}" srcOrd="3" destOrd="0" presId="urn:microsoft.com/office/officeart/2005/8/layout/process1"/>
    <dgm:cxn modelId="{817F93CC-BDE6-46E5-BDAB-06516BDB80F5}" type="presParOf" srcId="{366C3DB9-CCDF-4767-A49E-42C2391F9BB6}" destId="{CF73ED7B-EB69-4E76-B9A6-92CFAC1CA3CC}" srcOrd="0" destOrd="0" presId="urn:microsoft.com/office/officeart/2005/8/layout/process1"/>
    <dgm:cxn modelId="{1BF294A8-B585-4FA1-B208-020C418AE5A2}" type="presParOf" srcId="{488E19EB-E5CC-4AC5-8A0F-43AF2755FF57}" destId="{81C271A1-B8E6-41B9-B033-8E6CDBBBFEBD}" srcOrd="4" destOrd="0" presId="urn:microsoft.com/office/officeart/2005/8/layout/process1"/>
    <dgm:cxn modelId="{9592F73E-80E5-44E2-92F6-C23FB761890A}" type="presParOf" srcId="{488E19EB-E5CC-4AC5-8A0F-43AF2755FF57}" destId="{6E8A2EA4-332D-4381-88D2-7431756F7C4A}" srcOrd="5" destOrd="0" presId="urn:microsoft.com/office/officeart/2005/8/layout/process1"/>
    <dgm:cxn modelId="{C686F596-0F58-4593-9606-EA5170B6D066}" type="presParOf" srcId="{6E8A2EA4-332D-4381-88D2-7431756F7C4A}" destId="{E1793A9B-6C2E-4E2C-A58F-F77521AFC407}" srcOrd="0" destOrd="0" presId="urn:microsoft.com/office/officeart/2005/8/layout/process1"/>
    <dgm:cxn modelId="{C9439874-5910-4427-AB12-C35CC19FBC56}" type="presParOf" srcId="{488E19EB-E5CC-4AC5-8A0F-43AF2755FF57}" destId="{8B02AB5B-19BD-4660-A63B-AE2313BD3D54}" srcOrd="6" destOrd="0" presId="urn:microsoft.com/office/officeart/2005/8/layout/process1"/>
    <dgm:cxn modelId="{55766990-0A36-4C01-A3DA-F2505830689E}" type="presParOf" srcId="{488E19EB-E5CC-4AC5-8A0F-43AF2755FF57}" destId="{32966E18-608D-4B5F-B4FB-CA3D1BAB35BF}" srcOrd="7" destOrd="0" presId="urn:microsoft.com/office/officeart/2005/8/layout/process1"/>
    <dgm:cxn modelId="{C44A228C-CEB1-4324-A951-F739DD6E9FFF}" type="presParOf" srcId="{32966E18-608D-4B5F-B4FB-CA3D1BAB35BF}" destId="{B74B6D86-9B15-4BB0-B1EC-C28C7A07214B}" srcOrd="0" destOrd="0" presId="urn:microsoft.com/office/officeart/2005/8/layout/process1"/>
    <dgm:cxn modelId="{24C95EF2-D8E8-47E1-984C-050E08608245}" type="presParOf" srcId="{488E19EB-E5CC-4AC5-8A0F-43AF2755FF57}" destId="{66488BD8-EE16-4789-801C-5CCEEA5A2382}" srcOrd="8"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D40400CE-46FB-42BB-A027-A33BEBD5260E}"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00B120AB-7AC5-4C60-B1A5-83FBF2DC1400}">
      <dgm:prSet phldrT="[Text]" custT="1"/>
      <dgm:spPr>
        <a:xfrm>
          <a:off x="576806" y="52281"/>
          <a:ext cx="8075291" cy="708480"/>
        </a:xfrm>
        <a:prstGeom prst="roundRect">
          <a:avLst/>
        </a:prstGeom>
      </dgm:spPr>
      <dgm:t>
        <a:bodyPr/>
        <a:lstStyle/>
        <a:p>
          <a:pPr>
            <a:buNone/>
          </a:pPr>
          <a:r>
            <a:rPr lang="en-US" sz="1800">
              <a:latin typeface="Calibri" panose="020F0502020204030204" pitchFamily="34" charset="0"/>
              <a:ea typeface="+mn-ea"/>
              <a:cs typeface="Times New Roman" panose="02020603050405020304" pitchFamily="18" charset="0"/>
            </a:rPr>
            <a:t>Create a master key specifying a strong password</a:t>
          </a:r>
          <a:endParaRPr lang="en-US" sz="1800" dirty="0">
            <a:latin typeface="Segoe UI"/>
            <a:ea typeface="+mn-ea"/>
            <a:cs typeface="+mn-cs"/>
          </a:endParaRPr>
        </a:p>
      </dgm:t>
    </dgm:pt>
    <dgm:pt modelId="{58BE3F6A-127E-4397-9297-9F5AD785F3F2}" type="parTrans" cxnId="{DB354892-AF4D-4907-BC65-927AD4FCE6CF}">
      <dgm:prSet/>
      <dgm:spPr/>
      <dgm:t>
        <a:bodyPr/>
        <a:lstStyle/>
        <a:p>
          <a:endParaRPr lang="en-US"/>
        </a:p>
      </dgm:t>
    </dgm:pt>
    <dgm:pt modelId="{E5EA24F6-0B51-4F96-AD6C-A41F966F7E8B}" type="sibTrans" cxnId="{DB354892-AF4D-4907-BC65-927AD4FCE6CF}">
      <dgm:prSet/>
      <dgm:spPr/>
      <dgm:t>
        <a:bodyPr/>
        <a:lstStyle/>
        <a:p>
          <a:endParaRPr lang="en-US"/>
        </a:p>
      </dgm:t>
    </dgm:pt>
    <dgm:pt modelId="{182625C0-D706-42FD-A206-8902A10F120B}">
      <dgm:prSet custT="1"/>
      <dgm:spPr>
        <a:xfrm>
          <a:off x="0" y="406521"/>
          <a:ext cx="11536130" cy="812700"/>
        </a:xfrm>
        <a:prstGeom prst="rect">
          <a:avLst/>
        </a:prstGeom>
      </dgm:spPr>
      <dgm:t>
        <a:bodyPr/>
        <a:lstStyle/>
        <a:p>
          <a:pPr>
            <a:buChar char="•"/>
          </a:pPr>
          <a:r>
            <a:rPr lang="en-US" sz="1400">
              <a:latin typeface="Consolas" panose="020B0609020204030204" pitchFamily="49" charset="0"/>
              <a:ea typeface="+mn-ea"/>
              <a:cs typeface="Times New Roman" panose="02020603050405020304" pitchFamily="18" charset="0"/>
            </a:rPr>
            <a:t>CREATE MASTER KEY ENCRYPTION BY PASSWORD = 'xxxxxx!'; </a:t>
          </a:r>
          <a:endParaRPr lang="en-US" sz="1400" dirty="0">
            <a:latin typeface="Calibri" panose="020F0502020204030204" pitchFamily="34" charset="0"/>
            <a:ea typeface="+mn-ea"/>
            <a:cs typeface="Times New Roman" panose="02020603050405020304" pitchFamily="18" charset="0"/>
          </a:endParaRPr>
        </a:p>
      </dgm:t>
    </dgm:pt>
    <dgm:pt modelId="{49AD8478-F990-4614-A391-F620C4BBCAEB}" type="parTrans" cxnId="{A171ADAB-8625-4AC7-9408-3F4A21D13392}">
      <dgm:prSet/>
      <dgm:spPr/>
      <dgm:t>
        <a:bodyPr/>
        <a:lstStyle/>
        <a:p>
          <a:endParaRPr lang="en-US"/>
        </a:p>
      </dgm:t>
    </dgm:pt>
    <dgm:pt modelId="{FE2F67F2-3960-4129-93DB-D6AC6BBE9B4F}" type="sibTrans" cxnId="{A171ADAB-8625-4AC7-9408-3F4A21D13392}">
      <dgm:prSet/>
      <dgm:spPr/>
      <dgm:t>
        <a:bodyPr/>
        <a:lstStyle/>
        <a:p>
          <a:endParaRPr lang="en-US"/>
        </a:p>
      </dgm:t>
    </dgm:pt>
    <dgm:pt modelId="{15A22EAA-964F-4969-BB87-A0CD51698A21}">
      <dgm:prSet custT="1"/>
      <dgm:spPr>
        <a:xfrm>
          <a:off x="576806" y="1348821"/>
          <a:ext cx="8075291" cy="708480"/>
        </a:xfrm>
        <a:prstGeom prst="roundRect">
          <a:avLst/>
        </a:prstGeom>
      </dgm:spPr>
      <dgm:t>
        <a:bodyPr/>
        <a:lstStyle/>
        <a:p>
          <a:pPr>
            <a:buNone/>
          </a:pPr>
          <a:r>
            <a:rPr lang="en-US" sz="1800">
              <a:latin typeface="Calibri" panose="020F0502020204030204" pitchFamily="34" charset="0"/>
              <a:ea typeface="+mn-ea"/>
              <a:cs typeface="Times New Roman" panose="02020603050405020304" pitchFamily="18" charset="0"/>
            </a:rPr>
            <a:t>Define the blob storage where the XEL will be saved. Use the SAS key that was provided by the definition of the blob storage</a:t>
          </a:r>
          <a:endParaRPr lang="en-US" sz="1800" dirty="0">
            <a:latin typeface="Calibri" panose="020F0502020204030204" pitchFamily="34" charset="0"/>
            <a:ea typeface="+mn-ea"/>
            <a:cs typeface="Times New Roman" panose="02020603050405020304" pitchFamily="18" charset="0"/>
          </a:endParaRPr>
        </a:p>
      </dgm:t>
    </dgm:pt>
    <dgm:pt modelId="{E5EFB90B-CFC8-4DD5-B3A8-51B9A952E2D5}" type="parTrans" cxnId="{83C49DEE-DBEF-4ED0-8A3A-1F0EEB0BF1AB}">
      <dgm:prSet/>
      <dgm:spPr/>
      <dgm:t>
        <a:bodyPr/>
        <a:lstStyle/>
        <a:p>
          <a:endParaRPr lang="en-US"/>
        </a:p>
      </dgm:t>
    </dgm:pt>
    <dgm:pt modelId="{B48A6E53-1B25-42E8-B6A0-C41207B3E557}" type="sibTrans" cxnId="{83C49DEE-DBEF-4ED0-8A3A-1F0EEB0BF1AB}">
      <dgm:prSet/>
      <dgm:spPr/>
      <dgm:t>
        <a:bodyPr/>
        <a:lstStyle/>
        <a:p>
          <a:endParaRPr lang="en-US"/>
        </a:p>
      </dgm:t>
    </dgm:pt>
    <dgm:pt modelId="{1F7BB2C7-BFE0-4BDB-AAB0-EC0D0C4DF9BC}">
      <dgm:prSet custT="1"/>
      <dgm:spPr>
        <a:xfrm>
          <a:off x="0" y="1703061"/>
          <a:ext cx="11536130" cy="1171800"/>
        </a:xfrm>
        <a:prstGeom prst="rect">
          <a:avLst/>
        </a:prstGeom>
      </dgm:spPr>
      <dgm:t>
        <a:bodyPr/>
        <a:lstStyle/>
        <a:p>
          <a:pPr>
            <a:buChar char="•"/>
          </a:pPr>
          <a:r>
            <a:rPr lang="en-US" sz="1400" dirty="0">
              <a:latin typeface="Consolas" panose="020B0609020204030204" pitchFamily="49" charset="0"/>
              <a:ea typeface="+mn-ea"/>
              <a:cs typeface="Times New Roman" panose="02020603050405020304" pitchFamily="18" charset="0"/>
            </a:rPr>
            <a:t>CREATE DATABASE SCOPED CREDENTIAL [</a:t>
          </a:r>
          <a:r>
            <a:rPr lang="en-US" sz="1400" u="sng" dirty="0">
              <a:latin typeface="Consolas" panose="020B0609020204030204" pitchFamily="49" charset="0"/>
              <a:ea typeface="+mn-ea"/>
              <a:cs typeface="Times New Roman" panose="02020603050405020304" pitchFamily="18" charset="0"/>
              <a:hlinkClick xmlns:r="http://schemas.openxmlformats.org/officeDocument/2006/relationships" r:id="rId1"/>
            </a:rPr>
            <a:t>https://xxxx.blob.core.windows.net/xe-container</a:t>
          </a:r>
          <a:r>
            <a:rPr lang="en-US" sz="1400" dirty="0">
              <a:latin typeface="Consolas" panose="020B0609020204030204" pitchFamily="49" charset="0"/>
              <a:ea typeface="+mn-ea"/>
              <a:cs typeface="Times New Roman" panose="02020603050405020304" pitchFamily="18" charset="0"/>
            </a:rPr>
            <a:t>] WITH IDENTITY='SHARED ACCESS SIGNATURE', SECRET = '</a:t>
          </a:r>
          <a:r>
            <a:rPr lang="en-US" sz="1400" dirty="0" err="1">
              <a:latin typeface="Consolas" panose="020B0609020204030204" pitchFamily="49" charset="0"/>
              <a:ea typeface="+mn-ea"/>
              <a:cs typeface="Times New Roman" panose="02020603050405020304" pitchFamily="18" charset="0"/>
            </a:rPr>
            <a:t>sv</a:t>
          </a:r>
          <a:r>
            <a:rPr lang="en-US" sz="1400" dirty="0">
              <a:latin typeface="Consolas" panose="020B0609020204030204" pitchFamily="49" charset="0"/>
              <a:ea typeface="+mn-ea"/>
              <a:cs typeface="Times New Roman" panose="02020603050405020304" pitchFamily="18" charset="0"/>
            </a:rPr>
            <a:t>=2014-02-14&amp;sr=</a:t>
          </a:r>
          <a:r>
            <a:rPr lang="en-US" sz="1400" dirty="0" err="1">
              <a:latin typeface="Consolas" panose="020B0609020204030204" pitchFamily="49" charset="0"/>
              <a:ea typeface="+mn-ea"/>
              <a:cs typeface="Times New Roman" panose="02020603050405020304" pitchFamily="18" charset="0"/>
            </a:rPr>
            <a:t>c&amp;sig</a:t>
          </a:r>
          <a:r>
            <a:rPr lang="en-US" sz="1400" dirty="0">
              <a:latin typeface="Consolas" panose="020B0609020204030204" pitchFamily="49" charset="0"/>
              <a:ea typeface="+mn-ea"/>
              <a:cs typeface="Times New Roman" panose="02020603050405020304" pitchFamily="18" charset="0"/>
            </a:rPr>
            <a:t>=Hz2n9vs%3D&amp;st=2016-01-25T23%3A00%3A00Z&amp;se=2016-02-02T23%3A00%3A00Z&amp;sp=</a:t>
          </a:r>
          <a:r>
            <a:rPr lang="en-US" sz="1400" dirty="0" err="1">
              <a:latin typeface="Consolas" panose="020B0609020204030204" pitchFamily="49" charset="0"/>
              <a:ea typeface="+mn-ea"/>
              <a:cs typeface="Times New Roman" panose="02020603050405020304" pitchFamily="18" charset="0"/>
            </a:rPr>
            <a:t>rw</a:t>
          </a:r>
          <a:r>
            <a:rPr lang="en-US" sz="1400" dirty="0">
              <a:latin typeface="Consolas" panose="020B0609020204030204" pitchFamily="49" charset="0"/>
              <a:ea typeface="+mn-ea"/>
              <a:cs typeface="Times New Roman" panose="02020603050405020304" pitchFamily="18" charset="0"/>
            </a:rPr>
            <a:t>' </a:t>
          </a:r>
          <a:endParaRPr lang="en-US" sz="1400" dirty="0">
            <a:latin typeface="Calibri" panose="020F0502020204030204" pitchFamily="34" charset="0"/>
            <a:ea typeface="+mn-ea"/>
            <a:cs typeface="Times New Roman" panose="02020603050405020304" pitchFamily="18" charset="0"/>
          </a:endParaRPr>
        </a:p>
      </dgm:t>
    </dgm:pt>
    <dgm:pt modelId="{126E6D36-76B7-4358-9100-96C015BFE3B0}" type="parTrans" cxnId="{77D6A819-D544-457B-8A0F-491E25497BCB}">
      <dgm:prSet/>
      <dgm:spPr/>
      <dgm:t>
        <a:bodyPr/>
        <a:lstStyle/>
        <a:p>
          <a:endParaRPr lang="en-US"/>
        </a:p>
      </dgm:t>
    </dgm:pt>
    <dgm:pt modelId="{2AA61D54-55C4-492A-B359-4DD7480E0995}" type="sibTrans" cxnId="{77D6A819-D544-457B-8A0F-491E25497BCB}">
      <dgm:prSet/>
      <dgm:spPr/>
      <dgm:t>
        <a:bodyPr/>
        <a:lstStyle/>
        <a:p>
          <a:endParaRPr lang="en-US"/>
        </a:p>
      </dgm:t>
    </dgm:pt>
    <dgm:pt modelId="{6274E2A2-8789-498D-8DFA-DD488311F15D}">
      <dgm:prSet custT="1"/>
      <dgm:spPr>
        <a:xfrm>
          <a:off x="576806" y="3004461"/>
          <a:ext cx="8075291" cy="708480"/>
        </a:xfrm>
        <a:prstGeom prst="roundRect">
          <a:avLst/>
        </a:prstGeom>
      </dgm:spPr>
      <dgm:t>
        <a:bodyPr/>
        <a:lstStyle/>
        <a:p>
          <a:pPr>
            <a:buNone/>
          </a:pPr>
          <a:r>
            <a:rPr lang="en-US" sz="1800">
              <a:latin typeface="Calibri" panose="020F0502020204030204" pitchFamily="34" charset="0"/>
              <a:ea typeface="+mn-ea"/>
              <a:cs typeface="Times New Roman" panose="02020603050405020304" pitchFamily="18" charset="0"/>
            </a:rPr>
            <a:t>Define the Extended Event</a:t>
          </a:r>
          <a:endParaRPr lang="en-US" sz="1800" dirty="0">
            <a:latin typeface="Calibri" panose="020F0502020204030204" pitchFamily="34" charset="0"/>
            <a:ea typeface="+mn-ea"/>
            <a:cs typeface="Times New Roman" panose="02020603050405020304" pitchFamily="18" charset="0"/>
          </a:endParaRPr>
        </a:p>
      </dgm:t>
    </dgm:pt>
    <dgm:pt modelId="{DEBD75DC-20B8-4BE0-8200-43C0BFC3FD33}" type="parTrans" cxnId="{13938EB0-F2E3-439B-9F6A-92A4B7453933}">
      <dgm:prSet/>
      <dgm:spPr/>
      <dgm:t>
        <a:bodyPr/>
        <a:lstStyle/>
        <a:p>
          <a:endParaRPr lang="en-US"/>
        </a:p>
      </dgm:t>
    </dgm:pt>
    <dgm:pt modelId="{9EE566D1-FF99-40BA-8758-F9774C266B98}" type="sibTrans" cxnId="{13938EB0-F2E3-439B-9F6A-92A4B7453933}">
      <dgm:prSet/>
      <dgm:spPr/>
      <dgm:t>
        <a:bodyPr/>
        <a:lstStyle/>
        <a:p>
          <a:endParaRPr lang="en-US"/>
        </a:p>
      </dgm:t>
    </dgm:pt>
    <dgm:pt modelId="{2D927BEA-BD6B-473D-8096-8BA92072BA66}">
      <dgm:prSet custT="1"/>
      <dgm:spPr>
        <a:xfrm>
          <a:off x="0" y="3358701"/>
          <a:ext cx="11536130" cy="1512000"/>
        </a:xfrm>
        <a:prstGeom prst="rect">
          <a:avLst/>
        </a:prstGeom>
      </dgm:spPr>
      <dgm:t>
        <a:bodyPr/>
        <a:lstStyle/>
        <a:p>
          <a:pPr>
            <a:buChar char="•"/>
          </a:pPr>
          <a:r>
            <a:rPr lang="en-US" sz="1400">
              <a:latin typeface="Calibri" panose="020F0502020204030204" pitchFamily="34" charset="0"/>
              <a:ea typeface="+mn-ea"/>
              <a:cs typeface="Times New Roman" panose="02020603050405020304" pitchFamily="18" charset="0"/>
            </a:rPr>
            <a:t>Start the event and wait to reproduce the issue. </a:t>
          </a:r>
          <a:endParaRPr lang="en-US" sz="1400" dirty="0">
            <a:latin typeface="Calibri" panose="020F0502020204030204" pitchFamily="34" charset="0"/>
            <a:ea typeface="+mn-ea"/>
            <a:cs typeface="Times New Roman" panose="02020603050405020304" pitchFamily="18" charset="0"/>
          </a:endParaRPr>
        </a:p>
      </dgm:t>
    </dgm:pt>
    <dgm:pt modelId="{05BBECF3-72B0-4C0C-9C03-161616E94D99}" type="parTrans" cxnId="{2BF8B607-8549-41FE-A823-F76575D1DAD3}">
      <dgm:prSet/>
      <dgm:spPr/>
      <dgm:t>
        <a:bodyPr/>
        <a:lstStyle/>
        <a:p>
          <a:endParaRPr lang="en-US"/>
        </a:p>
      </dgm:t>
    </dgm:pt>
    <dgm:pt modelId="{40BB768C-5FFF-4F0B-A0F5-43DA30E68340}" type="sibTrans" cxnId="{2BF8B607-8549-41FE-A823-F76575D1DAD3}">
      <dgm:prSet/>
      <dgm:spPr/>
      <dgm:t>
        <a:bodyPr/>
        <a:lstStyle/>
        <a:p>
          <a:endParaRPr lang="en-US"/>
        </a:p>
      </dgm:t>
    </dgm:pt>
    <dgm:pt modelId="{78944A6A-AE45-4114-BF42-D027459CF23F}">
      <dgm:prSet custT="1"/>
      <dgm:spPr>
        <a:xfrm>
          <a:off x="0" y="3358701"/>
          <a:ext cx="11536130" cy="1512000"/>
        </a:xfrm>
        <a:prstGeom prst="rect">
          <a:avLst/>
        </a:prstGeom>
      </dgm:spPr>
      <dgm:t>
        <a:bodyPr/>
        <a:lstStyle/>
        <a:p>
          <a:pPr>
            <a:buChar char="•"/>
          </a:pPr>
          <a:r>
            <a:rPr lang="en-US" sz="1400">
              <a:latin typeface="Calibri" panose="020F0502020204030204" pitchFamily="34" charset="0"/>
              <a:ea typeface="+mn-ea"/>
              <a:cs typeface="Times New Roman" panose="02020603050405020304" pitchFamily="18" charset="0"/>
            </a:rPr>
            <a:t>Once the issue has been reproduced, stop the event. </a:t>
          </a:r>
          <a:endParaRPr lang="en-US" sz="1400" dirty="0">
            <a:latin typeface="Calibri" panose="020F0502020204030204" pitchFamily="34" charset="0"/>
            <a:ea typeface="+mn-ea"/>
            <a:cs typeface="Times New Roman" panose="02020603050405020304" pitchFamily="18" charset="0"/>
          </a:endParaRPr>
        </a:p>
      </dgm:t>
    </dgm:pt>
    <dgm:pt modelId="{C656FDD9-371C-426E-A5D9-31652D9094DB}" type="parTrans" cxnId="{0EEAAE57-485E-46B8-A32D-21995D85E72C}">
      <dgm:prSet/>
      <dgm:spPr/>
      <dgm:t>
        <a:bodyPr/>
        <a:lstStyle/>
        <a:p>
          <a:endParaRPr lang="en-US"/>
        </a:p>
      </dgm:t>
    </dgm:pt>
    <dgm:pt modelId="{1386663B-233E-470C-B30A-5132B91A6402}" type="sibTrans" cxnId="{0EEAAE57-485E-46B8-A32D-21995D85E72C}">
      <dgm:prSet/>
      <dgm:spPr/>
      <dgm:t>
        <a:bodyPr/>
        <a:lstStyle/>
        <a:p>
          <a:endParaRPr lang="en-US"/>
        </a:p>
      </dgm:t>
    </dgm:pt>
    <dgm:pt modelId="{41E61DA8-A35A-4091-8D2D-B17281D63F44}">
      <dgm:prSet custT="1"/>
      <dgm:spPr>
        <a:xfrm>
          <a:off x="0" y="3358701"/>
          <a:ext cx="11536130" cy="1512000"/>
        </a:xfrm>
        <a:prstGeom prst="rect">
          <a:avLst/>
        </a:prstGeom>
      </dgm:spPr>
      <dgm:t>
        <a:bodyPr/>
        <a:lstStyle/>
        <a:p>
          <a:pPr>
            <a:buChar char="•"/>
          </a:pPr>
          <a:r>
            <a:rPr lang="en-US" sz="1400">
              <a:latin typeface="Calibri" panose="020F0502020204030204" pitchFamily="34" charset="0"/>
              <a:ea typeface="+mn-ea"/>
              <a:cs typeface="Times New Roman" panose="02020603050405020304" pitchFamily="18" charset="0"/>
            </a:rPr>
            <a:t>You should see XEL files in the storage container in Azure Storage Explorer.</a:t>
          </a:r>
          <a:endParaRPr lang="en-US" sz="1400" dirty="0">
            <a:latin typeface="Calibri" panose="020F0502020204030204" pitchFamily="34" charset="0"/>
            <a:ea typeface="+mn-ea"/>
            <a:cs typeface="Times New Roman" panose="02020603050405020304" pitchFamily="18" charset="0"/>
          </a:endParaRPr>
        </a:p>
      </dgm:t>
    </dgm:pt>
    <dgm:pt modelId="{390A73D6-5494-41D6-B97C-CBF2AE78CEDC}" type="parTrans" cxnId="{BF9CC526-97FA-4E01-BA58-84C598956B2B}">
      <dgm:prSet/>
      <dgm:spPr/>
      <dgm:t>
        <a:bodyPr/>
        <a:lstStyle/>
        <a:p>
          <a:endParaRPr lang="en-US"/>
        </a:p>
      </dgm:t>
    </dgm:pt>
    <dgm:pt modelId="{5E7CD209-B402-41F4-A658-F24C42D85ABF}" type="sibTrans" cxnId="{BF9CC526-97FA-4E01-BA58-84C598956B2B}">
      <dgm:prSet/>
      <dgm:spPr/>
      <dgm:t>
        <a:bodyPr/>
        <a:lstStyle/>
        <a:p>
          <a:endParaRPr lang="en-US"/>
        </a:p>
      </dgm:t>
    </dgm:pt>
    <dgm:pt modelId="{CA5B6439-79AD-40A9-9A88-96B1620A4357}">
      <dgm:prSet custT="1"/>
      <dgm:spPr>
        <a:xfrm>
          <a:off x="0" y="3358701"/>
          <a:ext cx="11536130" cy="1512000"/>
        </a:xfrm>
        <a:prstGeom prst="rect">
          <a:avLst/>
        </a:prstGeom>
      </dgm:spPr>
      <dgm:t>
        <a:bodyPr/>
        <a:lstStyle/>
        <a:p>
          <a:pPr>
            <a:buChar char="•"/>
          </a:pPr>
          <a:r>
            <a:rPr lang="en-US" sz="1400">
              <a:latin typeface="Calibri" panose="020F0502020204030204" pitchFamily="34" charset="0"/>
              <a:ea typeface="+mn-ea"/>
              <a:cs typeface="Times New Roman" panose="02020603050405020304" pitchFamily="18" charset="0"/>
            </a:rPr>
            <a:t>You can then download to your laptop/local machine. </a:t>
          </a:r>
          <a:endParaRPr lang="en-US" sz="1400" dirty="0">
            <a:latin typeface="Calibri" panose="020F0502020204030204" pitchFamily="34" charset="0"/>
            <a:ea typeface="+mn-ea"/>
            <a:cs typeface="Times New Roman" panose="02020603050405020304" pitchFamily="18" charset="0"/>
          </a:endParaRPr>
        </a:p>
      </dgm:t>
    </dgm:pt>
    <dgm:pt modelId="{66548EA7-B545-4DF1-810A-07E8B13527BA}" type="parTrans" cxnId="{2D2D6C54-23B5-4B0E-8B4D-244451E05C22}">
      <dgm:prSet/>
      <dgm:spPr/>
      <dgm:t>
        <a:bodyPr/>
        <a:lstStyle/>
        <a:p>
          <a:endParaRPr lang="en-US"/>
        </a:p>
      </dgm:t>
    </dgm:pt>
    <dgm:pt modelId="{391D84CA-8CD9-481D-A5D9-41B7F6C095B0}" type="sibTrans" cxnId="{2D2D6C54-23B5-4B0E-8B4D-244451E05C22}">
      <dgm:prSet/>
      <dgm:spPr/>
      <dgm:t>
        <a:bodyPr/>
        <a:lstStyle/>
        <a:p>
          <a:endParaRPr lang="en-US"/>
        </a:p>
      </dgm:t>
    </dgm:pt>
    <dgm:pt modelId="{3F6D45BA-2525-402A-B9A5-7053A8CFECC7}" type="pres">
      <dgm:prSet presAssocID="{D40400CE-46FB-42BB-A027-A33BEBD5260E}" presName="linear" presStyleCnt="0">
        <dgm:presLayoutVars>
          <dgm:dir/>
          <dgm:animLvl val="lvl"/>
          <dgm:resizeHandles val="exact"/>
        </dgm:presLayoutVars>
      </dgm:prSet>
      <dgm:spPr/>
    </dgm:pt>
    <dgm:pt modelId="{70A43B56-EA4D-43B3-8EFD-1E45D2E90549}" type="pres">
      <dgm:prSet presAssocID="{00B120AB-7AC5-4C60-B1A5-83FBF2DC1400}" presName="parentLin" presStyleCnt="0"/>
      <dgm:spPr/>
    </dgm:pt>
    <dgm:pt modelId="{CAAD6151-9181-49B3-926C-1F65C552447E}" type="pres">
      <dgm:prSet presAssocID="{00B120AB-7AC5-4C60-B1A5-83FBF2DC1400}" presName="parentLeftMargin" presStyleLbl="node1" presStyleIdx="0" presStyleCnt="3"/>
      <dgm:spPr/>
    </dgm:pt>
    <dgm:pt modelId="{F0EBDF48-0148-4351-98D4-70D6527B53EF}" type="pres">
      <dgm:prSet presAssocID="{00B120AB-7AC5-4C60-B1A5-83FBF2DC1400}" presName="parentText" presStyleLbl="node1" presStyleIdx="0" presStyleCnt="3">
        <dgm:presLayoutVars>
          <dgm:chMax val="0"/>
          <dgm:bulletEnabled val="1"/>
        </dgm:presLayoutVars>
      </dgm:prSet>
      <dgm:spPr/>
    </dgm:pt>
    <dgm:pt modelId="{2AF808A4-1EB1-4C72-A273-1D789904A8B0}" type="pres">
      <dgm:prSet presAssocID="{00B120AB-7AC5-4C60-B1A5-83FBF2DC1400}" presName="negativeSpace" presStyleCnt="0"/>
      <dgm:spPr/>
    </dgm:pt>
    <dgm:pt modelId="{442D588D-C629-4606-9D37-874C8CFA4CB1}" type="pres">
      <dgm:prSet presAssocID="{00B120AB-7AC5-4C60-B1A5-83FBF2DC1400}" presName="childText" presStyleLbl="conFgAcc1" presStyleIdx="0" presStyleCnt="3">
        <dgm:presLayoutVars>
          <dgm:bulletEnabled val="1"/>
        </dgm:presLayoutVars>
      </dgm:prSet>
      <dgm:spPr/>
    </dgm:pt>
    <dgm:pt modelId="{5EC66D07-9EA1-4D44-B1B1-C5F356514333}" type="pres">
      <dgm:prSet presAssocID="{E5EA24F6-0B51-4F96-AD6C-A41F966F7E8B}" presName="spaceBetweenRectangles" presStyleCnt="0"/>
      <dgm:spPr/>
    </dgm:pt>
    <dgm:pt modelId="{3E0E54B2-C831-4D15-8FE8-5CC08F2CD2C8}" type="pres">
      <dgm:prSet presAssocID="{15A22EAA-964F-4969-BB87-A0CD51698A21}" presName="parentLin" presStyleCnt="0"/>
      <dgm:spPr/>
    </dgm:pt>
    <dgm:pt modelId="{CDF5EEA3-1AC9-4508-BBE9-69A785E51483}" type="pres">
      <dgm:prSet presAssocID="{15A22EAA-964F-4969-BB87-A0CD51698A21}" presName="parentLeftMargin" presStyleLbl="node1" presStyleIdx="0" presStyleCnt="3"/>
      <dgm:spPr/>
    </dgm:pt>
    <dgm:pt modelId="{498BBEA6-597F-40F7-A0D1-37D0C2418C43}" type="pres">
      <dgm:prSet presAssocID="{15A22EAA-964F-4969-BB87-A0CD51698A21}" presName="parentText" presStyleLbl="node1" presStyleIdx="1" presStyleCnt="3">
        <dgm:presLayoutVars>
          <dgm:chMax val="0"/>
          <dgm:bulletEnabled val="1"/>
        </dgm:presLayoutVars>
      </dgm:prSet>
      <dgm:spPr/>
    </dgm:pt>
    <dgm:pt modelId="{32600814-934B-48C7-ABDF-836E023C77AD}" type="pres">
      <dgm:prSet presAssocID="{15A22EAA-964F-4969-BB87-A0CD51698A21}" presName="negativeSpace" presStyleCnt="0"/>
      <dgm:spPr/>
    </dgm:pt>
    <dgm:pt modelId="{D89324D4-24F8-418A-99DD-0E803596F291}" type="pres">
      <dgm:prSet presAssocID="{15A22EAA-964F-4969-BB87-A0CD51698A21}" presName="childText" presStyleLbl="conFgAcc1" presStyleIdx="1" presStyleCnt="3">
        <dgm:presLayoutVars>
          <dgm:bulletEnabled val="1"/>
        </dgm:presLayoutVars>
      </dgm:prSet>
      <dgm:spPr/>
    </dgm:pt>
    <dgm:pt modelId="{F3E1E08B-C8CF-46B3-A44A-A36F4CC9960C}" type="pres">
      <dgm:prSet presAssocID="{B48A6E53-1B25-42E8-B6A0-C41207B3E557}" presName="spaceBetweenRectangles" presStyleCnt="0"/>
      <dgm:spPr/>
    </dgm:pt>
    <dgm:pt modelId="{4556F841-8B40-4CF4-86F0-30AA149C1068}" type="pres">
      <dgm:prSet presAssocID="{6274E2A2-8789-498D-8DFA-DD488311F15D}" presName="parentLin" presStyleCnt="0"/>
      <dgm:spPr/>
    </dgm:pt>
    <dgm:pt modelId="{AAB4DC54-2DB9-4566-A2A3-894B41D162DF}" type="pres">
      <dgm:prSet presAssocID="{6274E2A2-8789-498D-8DFA-DD488311F15D}" presName="parentLeftMargin" presStyleLbl="node1" presStyleIdx="1" presStyleCnt="3"/>
      <dgm:spPr/>
    </dgm:pt>
    <dgm:pt modelId="{EF50F1AA-D465-4946-AB55-DADE566E365A}" type="pres">
      <dgm:prSet presAssocID="{6274E2A2-8789-498D-8DFA-DD488311F15D}" presName="parentText" presStyleLbl="node1" presStyleIdx="2" presStyleCnt="3">
        <dgm:presLayoutVars>
          <dgm:chMax val="0"/>
          <dgm:bulletEnabled val="1"/>
        </dgm:presLayoutVars>
      </dgm:prSet>
      <dgm:spPr/>
    </dgm:pt>
    <dgm:pt modelId="{C182F285-E7A9-493C-9CDB-69E7DAD51C44}" type="pres">
      <dgm:prSet presAssocID="{6274E2A2-8789-498D-8DFA-DD488311F15D}" presName="negativeSpace" presStyleCnt="0"/>
      <dgm:spPr/>
    </dgm:pt>
    <dgm:pt modelId="{D3A5F479-A9D3-4800-8FA5-ED092E27ADF3}" type="pres">
      <dgm:prSet presAssocID="{6274E2A2-8789-498D-8DFA-DD488311F15D}" presName="childText" presStyleLbl="conFgAcc1" presStyleIdx="2" presStyleCnt="3">
        <dgm:presLayoutVars>
          <dgm:bulletEnabled val="1"/>
        </dgm:presLayoutVars>
      </dgm:prSet>
      <dgm:spPr/>
    </dgm:pt>
  </dgm:ptLst>
  <dgm:cxnLst>
    <dgm:cxn modelId="{2BF8B607-8549-41FE-A823-F76575D1DAD3}" srcId="{6274E2A2-8789-498D-8DFA-DD488311F15D}" destId="{2D927BEA-BD6B-473D-8096-8BA92072BA66}" srcOrd="0" destOrd="0" parTransId="{05BBECF3-72B0-4C0C-9C03-161616E94D99}" sibTransId="{40BB768C-5FFF-4F0B-A0F5-43DA30E68340}"/>
    <dgm:cxn modelId="{926D1E13-81FB-48B6-98B6-36E007B43F29}" type="presOf" srcId="{1F7BB2C7-BFE0-4BDB-AAB0-EC0D0C4DF9BC}" destId="{D89324D4-24F8-418A-99DD-0E803596F291}" srcOrd="0" destOrd="0" presId="urn:microsoft.com/office/officeart/2005/8/layout/list1"/>
    <dgm:cxn modelId="{77D6A819-D544-457B-8A0F-491E25497BCB}" srcId="{15A22EAA-964F-4969-BB87-A0CD51698A21}" destId="{1F7BB2C7-BFE0-4BDB-AAB0-EC0D0C4DF9BC}" srcOrd="0" destOrd="0" parTransId="{126E6D36-76B7-4358-9100-96C015BFE3B0}" sibTransId="{2AA61D54-55C4-492A-B359-4DD7480E0995}"/>
    <dgm:cxn modelId="{BF9CC526-97FA-4E01-BA58-84C598956B2B}" srcId="{6274E2A2-8789-498D-8DFA-DD488311F15D}" destId="{41E61DA8-A35A-4091-8D2D-B17281D63F44}" srcOrd="2" destOrd="0" parTransId="{390A73D6-5494-41D6-B97C-CBF2AE78CEDC}" sibTransId="{5E7CD209-B402-41F4-A658-F24C42D85ABF}"/>
    <dgm:cxn modelId="{69EFF437-AF56-45CB-A921-755C4D94A535}" type="presOf" srcId="{15A22EAA-964F-4969-BB87-A0CD51698A21}" destId="{CDF5EEA3-1AC9-4508-BBE9-69A785E51483}" srcOrd="0" destOrd="0" presId="urn:microsoft.com/office/officeart/2005/8/layout/list1"/>
    <dgm:cxn modelId="{C263CC63-A655-4B62-9DE1-315F5DC221CE}" type="presOf" srcId="{00B120AB-7AC5-4C60-B1A5-83FBF2DC1400}" destId="{F0EBDF48-0148-4351-98D4-70D6527B53EF}" srcOrd="1" destOrd="0" presId="urn:microsoft.com/office/officeart/2005/8/layout/list1"/>
    <dgm:cxn modelId="{8E135848-4A7D-4CA3-A322-D3F98B12AD0C}" type="presOf" srcId="{00B120AB-7AC5-4C60-B1A5-83FBF2DC1400}" destId="{CAAD6151-9181-49B3-926C-1F65C552447E}" srcOrd="0" destOrd="0" presId="urn:microsoft.com/office/officeart/2005/8/layout/list1"/>
    <dgm:cxn modelId="{3F43CA4C-55BB-48BC-8CC6-72D9C33E44C4}" type="presOf" srcId="{D40400CE-46FB-42BB-A027-A33BEBD5260E}" destId="{3F6D45BA-2525-402A-B9A5-7053A8CFECC7}" srcOrd="0" destOrd="0" presId="urn:microsoft.com/office/officeart/2005/8/layout/list1"/>
    <dgm:cxn modelId="{09FBC64E-DD75-4F88-9271-65A79DF40822}" type="presOf" srcId="{6274E2A2-8789-498D-8DFA-DD488311F15D}" destId="{EF50F1AA-D465-4946-AB55-DADE566E365A}" srcOrd="1" destOrd="0" presId="urn:microsoft.com/office/officeart/2005/8/layout/list1"/>
    <dgm:cxn modelId="{6DD2BA6F-0AC7-4B83-B6D1-969833C6BC4C}" type="presOf" srcId="{78944A6A-AE45-4114-BF42-D027459CF23F}" destId="{D3A5F479-A9D3-4800-8FA5-ED092E27ADF3}" srcOrd="0" destOrd="1" presId="urn:microsoft.com/office/officeart/2005/8/layout/list1"/>
    <dgm:cxn modelId="{2D2D6C54-23B5-4B0E-8B4D-244451E05C22}" srcId="{6274E2A2-8789-498D-8DFA-DD488311F15D}" destId="{CA5B6439-79AD-40A9-9A88-96B1620A4357}" srcOrd="3" destOrd="0" parTransId="{66548EA7-B545-4DF1-810A-07E8B13527BA}" sibTransId="{391D84CA-8CD9-481D-A5D9-41B7F6C095B0}"/>
    <dgm:cxn modelId="{0EEAAE57-485E-46B8-A32D-21995D85E72C}" srcId="{6274E2A2-8789-498D-8DFA-DD488311F15D}" destId="{78944A6A-AE45-4114-BF42-D027459CF23F}" srcOrd="1" destOrd="0" parTransId="{C656FDD9-371C-426E-A5D9-31652D9094DB}" sibTransId="{1386663B-233E-470C-B30A-5132B91A6402}"/>
    <dgm:cxn modelId="{DB354892-AF4D-4907-BC65-927AD4FCE6CF}" srcId="{D40400CE-46FB-42BB-A027-A33BEBD5260E}" destId="{00B120AB-7AC5-4C60-B1A5-83FBF2DC1400}" srcOrd="0" destOrd="0" parTransId="{58BE3F6A-127E-4397-9297-9F5AD785F3F2}" sibTransId="{E5EA24F6-0B51-4F96-AD6C-A41F966F7E8B}"/>
    <dgm:cxn modelId="{EA689394-B798-4C6D-80A6-34139B24DF5A}" type="presOf" srcId="{41E61DA8-A35A-4091-8D2D-B17281D63F44}" destId="{D3A5F479-A9D3-4800-8FA5-ED092E27ADF3}" srcOrd="0" destOrd="2" presId="urn:microsoft.com/office/officeart/2005/8/layout/list1"/>
    <dgm:cxn modelId="{F9107EAA-C202-4285-833E-5D2C4D895931}" type="presOf" srcId="{182625C0-D706-42FD-A206-8902A10F120B}" destId="{442D588D-C629-4606-9D37-874C8CFA4CB1}" srcOrd="0" destOrd="0" presId="urn:microsoft.com/office/officeart/2005/8/layout/list1"/>
    <dgm:cxn modelId="{A171ADAB-8625-4AC7-9408-3F4A21D13392}" srcId="{00B120AB-7AC5-4C60-B1A5-83FBF2DC1400}" destId="{182625C0-D706-42FD-A206-8902A10F120B}" srcOrd="0" destOrd="0" parTransId="{49AD8478-F990-4614-A391-F620C4BBCAEB}" sibTransId="{FE2F67F2-3960-4129-93DB-D6AC6BBE9B4F}"/>
    <dgm:cxn modelId="{13938EB0-F2E3-439B-9F6A-92A4B7453933}" srcId="{D40400CE-46FB-42BB-A027-A33BEBD5260E}" destId="{6274E2A2-8789-498D-8DFA-DD488311F15D}" srcOrd="2" destOrd="0" parTransId="{DEBD75DC-20B8-4BE0-8200-43C0BFC3FD33}" sibTransId="{9EE566D1-FF99-40BA-8758-F9774C266B98}"/>
    <dgm:cxn modelId="{81F4EFCE-8A04-4DA6-A186-42A5B6283DE2}" type="presOf" srcId="{6274E2A2-8789-498D-8DFA-DD488311F15D}" destId="{AAB4DC54-2DB9-4566-A2A3-894B41D162DF}" srcOrd="0" destOrd="0" presId="urn:microsoft.com/office/officeart/2005/8/layout/list1"/>
    <dgm:cxn modelId="{ABB91CD5-28D5-4ADD-A928-C7042EC8EDC9}" type="presOf" srcId="{CA5B6439-79AD-40A9-9A88-96B1620A4357}" destId="{D3A5F479-A9D3-4800-8FA5-ED092E27ADF3}" srcOrd="0" destOrd="3" presId="urn:microsoft.com/office/officeart/2005/8/layout/list1"/>
    <dgm:cxn modelId="{058DADE1-A142-43BE-BBFF-74A885D7027F}" type="presOf" srcId="{2D927BEA-BD6B-473D-8096-8BA92072BA66}" destId="{D3A5F479-A9D3-4800-8FA5-ED092E27ADF3}" srcOrd="0" destOrd="0" presId="urn:microsoft.com/office/officeart/2005/8/layout/list1"/>
    <dgm:cxn modelId="{554A4BEA-9990-4C0E-A7B1-99757772CFD5}" type="presOf" srcId="{15A22EAA-964F-4969-BB87-A0CD51698A21}" destId="{498BBEA6-597F-40F7-A0D1-37D0C2418C43}" srcOrd="1" destOrd="0" presId="urn:microsoft.com/office/officeart/2005/8/layout/list1"/>
    <dgm:cxn modelId="{83C49DEE-DBEF-4ED0-8A3A-1F0EEB0BF1AB}" srcId="{D40400CE-46FB-42BB-A027-A33BEBD5260E}" destId="{15A22EAA-964F-4969-BB87-A0CD51698A21}" srcOrd="1" destOrd="0" parTransId="{E5EFB90B-CFC8-4DD5-B3A8-51B9A952E2D5}" sibTransId="{B48A6E53-1B25-42E8-B6A0-C41207B3E557}"/>
    <dgm:cxn modelId="{38CA452F-98BD-4D83-823D-1DE75959787B}" type="presParOf" srcId="{3F6D45BA-2525-402A-B9A5-7053A8CFECC7}" destId="{70A43B56-EA4D-43B3-8EFD-1E45D2E90549}" srcOrd="0" destOrd="0" presId="urn:microsoft.com/office/officeart/2005/8/layout/list1"/>
    <dgm:cxn modelId="{DA2AFAF2-C0D4-4B87-A635-55F8F94C4F3C}" type="presParOf" srcId="{70A43B56-EA4D-43B3-8EFD-1E45D2E90549}" destId="{CAAD6151-9181-49B3-926C-1F65C552447E}" srcOrd="0" destOrd="0" presId="urn:microsoft.com/office/officeart/2005/8/layout/list1"/>
    <dgm:cxn modelId="{E39E69BC-5536-4BF2-B2A5-3FB0AC13113A}" type="presParOf" srcId="{70A43B56-EA4D-43B3-8EFD-1E45D2E90549}" destId="{F0EBDF48-0148-4351-98D4-70D6527B53EF}" srcOrd="1" destOrd="0" presId="urn:microsoft.com/office/officeart/2005/8/layout/list1"/>
    <dgm:cxn modelId="{CF9541C3-3557-4F47-936B-6FCEEBF9161E}" type="presParOf" srcId="{3F6D45BA-2525-402A-B9A5-7053A8CFECC7}" destId="{2AF808A4-1EB1-4C72-A273-1D789904A8B0}" srcOrd="1" destOrd="0" presId="urn:microsoft.com/office/officeart/2005/8/layout/list1"/>
    <dgm:cxn modelId="{F4E22C85-F616-4932-BEE7-19367BE04B0C}" type="presParOf" srcId="{3F6D45BA-2525-402A-B9A5-7053A8CFECC7}" destId="{442D588D-C629-4606-9D37-874C8CFA4CB1}" srcOrd="2" destOrd="0" presId="urn:microsoft.com/office/officeart/2005/8/layout/list1"/>
    <dgm:cxn modelId="{81A4A996-5022-4E27-9F5F-A180600BDC93}" type="presParOf" srcId="{3F6D45BA-2525-402A-B9A5-7053A8CFECC7}" destId="{5EC66D07-9EA1-4D44-B1B1-C5F356514333}" srcOrd="3" destOrd="0" presId="urn:microsoft.com/office/officeart/2005/8/layout/list1"/>
    <dgm:cxn modelId="{DCA48955-5162-4AA2-807B-30F1086AC44A}" type="presParOf" srcId="{3F6D45BA-2525-402A-B9A5-7053A8CFECC7}" destId="{3E0E54B2-C831-4D15-8FE8-5CC08F2CD2C8}" srcOrd="4" destOrd="0" presId="urn:microsoft.com/office/officeart/2005/8/layout/list1"/>
    <dgm:cxn modelId="{2909BE8F-A12E-4B14-BA0E-B8B09594933A}" type="presParOf" srcId="{3E0E54B2-C831-4D15-8FE8-5CC08F2CD2C8}" destId="{CDF5EEA3-1AC9-4508-BBE9-69A785E51483}" srcOrd="0" destOrd="0" presId="urn:microsoft.com/office/officeart/2005/8/layout/list1"/>
    <dgm:cxn modelId="{FCE7FE10-7629-4048-88A0-ABEE989520E3}" type="presParOf" srcId="{3E0E54B2-C831-4D15-8FE8-5CC08F2CD2C8}" destId="{498BBEA6-597F-40F7-A0D1-37D0C2418C43}" srcOrd="1" destOrd="0" presId="urn:microsoft.com/office/officeart/2005/8/layout/list1"/>
    <dgm:cxn modelId="{CEB36EE5-D950-459C-B6B0-9509F10B8FAF}" type="presParOf" srcId="{3F6D45BA-2525-402A-B9A5-7053A8CFECC7}" destId="{32600814-934B-48C7-ABDF-836E023C77AD}" srcOrd="5" destOrd="0" presId="urn:microsoft.com/office/officeart/2005/8/layout/list1"/>
    <dgm:cxn modelId="{2DF42B15-749B-47A7-BD8B-0CA410F9E0D9}" type="presParOf" srcId="{3F6D45BA-2525-402A-B9A5-7053A8CFECC7}" destId="{D89324D4-24F8-418A-99DD-0E803596F291}" srcOrd="6" destOrd="0" presId="urn:microsoft.com/office/officeart/2005/8/layout/list1"/>
    <dgm:cxn modelId="{6C9FE0B6-674B-44A1-8A2C-5E3BF00E5436}" type="presParOf" srcId="{3F6D45BA-2525-402A-B9A5-7053A8CFECC7}" destId="{F3E1E08B-C8CF-46B3-A44A-A36F4CC9960C}" srcOrd="7" destOrd="0" presId="urn:microsoft.com/office/officeart/2005/8/layout/list1"/>
    <dgm:cxn modelId="{90604BBE-AD9D-43BE-9A4A-23748CB90CB2}" type="presParOf" srcId="{3F6D45BA-2525-402A-B9A5-7053A8CFECC7}" destId="{4556F841-8B40-4CF4-86F0-30AA149C1068}" srcOrd="8" destOrd="0" presId="urn:microsoft.com/office/officeart/2005/8/layout/list1"/>
    <dgm:cxn modelId="{AE42536A-7D67-485A-8DD4-C8E3F5423597}" type="presParOf" srcId="{4556F841-8B40-4CF4-86F0-30AA149C1068}" destId="{AAB4DC54-2DB9-4566-A2A3-894B41D162DF}" srcOrd="0" destOrd="0" presId="urn:microsoft.com/office/officeart/2005/8/layout/list1"/>
    <dgm:cxn modelId="{773751B6-F43A-495D-809D-803F98B4DA16}" type="presParOf" srcId="{4556F841-8B40-4CF4-86F0-30AA149C1068}" destId="{EF50F1AA-D465-4946-AB55-DADE566E365A}" srcOrd="1" destOrd="0" presId="urn:microsoft.com/office/officeart/2005/8/layout/list1"/>
    <dgm:cxn modelId="{EB8BBC95-B758-492B-9F1B-31C46BA6B1A1}" type="presParOf" srcId="{3F6D45BA-2525-402A-B9A5-7053A8CFECC7}" destId="{C182F285-E7A9-493C-9CDB-69E7DAD51C44}" srcOrd="9" destOrd="0" presId="urn:microsoft.com/office/officeart/2005/8/layout/list1"/>
    <dgm:cxn modelId="{F21B79A9-29F1-4AA9-9D1A-02769AABAB20}" type="presParOf" srcId="{3F6D45BA-2525-402A-B9A5-7053A8CFECC7}" destId="{D3A5F479-A9D3-4800-8FA5-ED092E27ADF3}"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dirty="0">
              <a:solidFill>
                <a:srgbClr val="FFFFFF"/>
              </a:solidFill>
            </a:rPr>
            <a:t>List three targets for extended events output.</a:t>
          </a:r>
          <a:endParaRPr lang="en-US" dirty="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58B1B991-212A-410E-8681-A6D95915757E}">
      <dgm:prSet/>
      <dgm:spPr/>
      <dgm:t>
        <a:bodyPr/>
        <a:lstStyle/>
        <a:p>
          <a:r>
            <a:rPr lang="en-US" dirty="0">
              <a:solidFill>
                <a:srgbClr val="FFFFFF"/>
              </a:solidFill>
            </a:rPr>
            <a:t>List three problematic scenarios where extended events can help.</a:t>
          </a:r>
          <a:endParaRPr lang="en-US" dirty="0"/>
        </a:p>
      </dgm:t>
    </dgm:pt>
    <dgm:pt modelId="{08EE05D8-057C-42F7-B3DB-54849EF3F801}" type="parTrans" cxnId="{8DCF3101-190D-48D2-8E3B-9B578D82E1A5}">
      <dgm:prSet/>
      <dgm:spPr/>
      <dgm:t>
        <a:bodyPr/>
        <a:lstStyle/>
        <a:p>
          <a:endParaRPr lang="en-US"/>
        </a:p>
      </dgm:t>
    </dgm:pt>
    <dgm:pt modelId="{AD379122-9DA8-482B-A8C0-ABBC422BBC25}" type="sibTrans" cxnId="{8DCF3101-190D-48D2-8E3B-9B578D82E1A5}">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custLinFactY="-43889" custLinFactNeighborY="-100000">
        <dgm:presLayoutVars>
          <dgm:chMax val="0"/>
          <dgm:bulletEnabled val="1"/>
        </dgm:presLayoutVars>
      </dgm:prSet>
      <dgm:spPr/>
    </dgm:pt>
    <dgm:pt modelId="{C612FDE1-CA0B-4448-B2A9-6EB44CD0983E}" type="pres">
      <dgm:prSet presAssocID="{CAE4D9F8-FDBB-4525-9125-6BAF56328FCE}" presName="spacer" presStyleCnt="0"/>
      <dgm:spPr/>
    </dgm:pt>
    <dgm:pt modelId="{E922B38C-D007-46D8-9A79-C8E951BC8385}" type="pres">
      <dgm:prSet presAssocID="{58B1B991-212A-410E-8681-A6D95915757E}" presName="parentText" presStyleLbl="node1" presStyleIdx="1" presStyleCnt="2" custLinFactY="-43889" custLinFactNeighborY="-100000">
        <dgm:presLayoutVars>
          <dgm:chMax val="0"/>
          <dgm:bulletEnabled val="1"/>
        </dgm:presLayoutVars>
      </dgm:prSet>
      <dgm:spPr/>
    </dgm:pt>
  </dgm:ptLst>
  <dgm:cxnLst>
    <dgm:cxn modelId="{8DCF3101-190D-48D2-8E3B-9B578D82E1A5}" srcId="{15A7774C-B622-4F48-8F7B-AF1AAB74E997}" destId="{58B1B991-212A-410E-8681-A6D95915757E}" srcOrd="1" destOrd="0" parTransId="{08EE05D8-057C-42F7-B3DB-54849EF3F801}" sibTransId="{AD379122-9DA8-482B-A8C0-ABBC422BBC25}"/>
    <dgm:cxn modelId="{36D7E407-3150-4513-85B0-C20EDB658460}" type="presOf" srcId="{58B1B991-212A-410E-8681-A6D95915757E}" destId="{E922B38C-D007-46D8-9A79-C8E951BC8385}" srcOrd="0" destOrd="0" presId="urn:microsoft.com/office/officeart/2005/8/layout/vList2"/>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E82A84E-B3D8-4926-A1BA-5048D0113830}" type="presParOf" srcId="{97400BD5-14CE-4761-8A6A-64BC46D23158}" destId="{E922B38C-D007-46D8-9A79-C8E951BC8385}"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45A18B1F-4F12-4164-BA5D-B32F8BBD5883}"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BA56B8A4-8620-4702-BDA7-A179E5A8AA4F}">
      <dgm:prSet/>
      <dgm:spPr/>
      <dgm:t>
        <a:bodyPr/>
        <a:lstStyle/>
        <a:p>
          <a:r>
            <a:rPr lang="en-US" baseline="0" dirty="0"/>
            <a:t>Database alerts can help to proactively trigger various events related to database connectivity, high DTU usage or deadlocks, etc.</a:t>
          </a:r>
          <a:endParaRPr lang="en-US" dirty="0"/>
        </a:p>
      </dgm:t>
    </dgm:pt>
    <dgm:pt modelId="{2F5FC70C-CC32-4BF9-B708-117E96E4EFB9}" type="parTrans" cxnId="{E630FBD7-88DA-41CF-AED7-47005A1E3DDA}">
      <dgm:prSet/>
      <dgm:spPr/>
      <dgm:t>
        <a:bodyPr/>
        <a:lstStyle/>
        <a:p>
          <a:endParaRPr lang="en-US"/>
        </a:p>
      </dgm:t>
    </dgm:pt>
    <dgm:pt modelId="{98123B4A-1229-440B-AC68-70349AB7492D}" type="sibTrans" cxnId="{E630FBD7-88DA-41CF-AED7-47005A1E3DDA}">
      <dgm:prSet/>
      <dgm:spPr/>
      <dgm:t>
        <a:bodyPr/>
        <a:lstStyle/>
        <a:p>
          <a:endParaRPr lang="en-US"/>
        </a:p>
      </dgm:t>
    </dgm:pt>
    <dgm:pt modelId="{07019F23-C804-4FD4-A6CD-9148990CAF31}">
      <dgm:prSet/>
      <dgm:spPr/>
      <dgm:t>
        <a:bodyPr/>
        <a:lstStyle/>
        <a:p>
          <a:r>
            <a:rPr lang="en-US" baseline="0" dirty="0"/>
            <a:t>It helps to proactively resolve underlying issues to avoid application outages and improve user experience.</a:t>
          </a:r>
          <a:endParaRPr lang="en-US" dirty="0"/>
        </a:p>
      </dgm:t>
    </dgm:pt>
    <dgm:pt modelId="{3A5D0148-0290-4C15-8615-948AE8263217}" type="parTrans" cxnId="{A03D2ACA-4F99-4B6C-AFE7-A3ADAAF9F98D}">
      <dgm:prSet/>
      <dgm:spPr/>
      <dgm:t>
        <a:bodyPr/>
        <a:lstStyle/>
        <a:p>
          <a:endParaRPr lang="en-US"/>
        </a:p>
      </dgm:t>
    </dgm:pt>
    <dgm:pt modelId="{969104EE-2205-487B-993A-C53D3845A06F}" type="sibTrans" cxnId="{A03D2ACA-4F99-4B6C-AFE7-A3ADAAF9F98D}">
      <dgm:prSet/>
      <dgm:spPr/>
      <dgm:t>
        <a:bodyPr/>
        <a:lstStyle/>
        <a:p>
          <a:endParaRPr lang="en-US"/>
        </a:p>
      </dgm:t>
    </dgm:pt>
    <dgm:pt modelId="{C31111CA-27BF-4EDA-85C6-D490A52A9A83}" type="pres">
      <dgm:prSet presAssocID="{45A18B1F-4F12-4164-BA5D-B32F8BBD5883}" presName="linear" presStyleCnt="0">
        <dgm:presLayoutVars>
          <dgm:animLvl val="lvl"/>
          <dgm:resizeHandles val="exact"/>
        </dgm:presLayoutVars>
      </dgm:prSet>
      <dgm:spPr/>
    </dgm:pt>
    <dgm:pt modelId="{6D99C0D4-CFB2-49AF-8198-DA377BA908CB}" type="pres">
      <dgm:prSet presAssocID="{BA56B8A4-8620-4702-BDA7-A179E5A8AA4F}" presName="parentText" presStyleLbl="node1" presStyleIdx="0" presStyleCnt="2">
        <dgm:presLayoutVars>
          <dgm:chMax val="0"/>
          <dgm:bulletEnabled val="1"/>
        </dgm:presLayoutVars>
      </dgm:prSet>
      <dgm:spPr/>
    </dgm:pt>
    <dgm:pt modelId="{332B86CC-1594-4E47-B124-09B9A39F7020}" type="pres">
      <dgm:prSet presAssocID="{98123B4A-1229-440B-AC68-70349AB7492D}" presName="spacer" presStyleCnt="0"/>
      <dgm:spPr/>
    </dgm:pt>
    <dgm:pt modelId="{D82BF9D7-AA09-4E2F-B05D-CF8608A80215}" type="pres">
      <dgm:prSet presAssocID="{07019F23-C804-4FD4-A6CD-9148990CAF31}" presName="parentText" presStyleLbl="node1" presStyleIdx="1" presStyleCnt="2">
        <dgm:presLayoutVars>
          <dgm:chMax val="0"/>
          <dgm:bulletEnabled val="1"/>
        </dgm:presLayoutVars>
      </dgm:prSet>
      <dgm:spPr/>
    </dgm:pt>
  </dgm:ptLst>
  <dgm:cxnLst>
    <dgm:cxn modelId="{1A53EA11-7565-4A21-A966-FCFDE2A7AB76}" type="presOf" srcId="{45A18B1F-4F12-4164-BA5D-B32F8BBD5883}" destId="{C31111CA-27BF-4EDA-85C6-D490A52A9A83}" srcOrd="0" destOrd="0" presId="urn:microsoft.com/office/officeart/2005/8/layout/vList2"/>
    <dgm:cxn modelId="{A03D2ACA-4F99-4B6C-AFE7-A3ADAAF9F98D}" srcId="{45A18B1F-4F12-4164-BA5D-B32F8BBD5883}" destId="{07019F23-C804-4FD4-A6CD-9148990CAF31}" srcOrd="1" destOrd="0" parTransId="{3A5D0148-0290-4C15-8615-948AE8263217}" sibTransId="{969104EE-2205-487B-993A-C53D3845A06F}"/>
    <dgm:cxn modelId="{B88E48CD-8AC3-4446-BB03-C89948DC13A5}" type="presOf" srcId="{07019F23-C804-4FD4-A6CD-9148990CAF31}" destId="{D82BF9D7-AA09-4E2F-B05D-CF8608A80215}" srcOrd="0" destOrd="0" presId="urn:microsoft.com/office/officeart/2005/8/layout/vList2"/>
    <dgm:cxn modelId="{09447ED0-9BEA-4B78-BB20-89648C0EF5FA}" type="presOf" srcId="{BA56B8A4-8620-4702-BDA7-A179E5A8AA4F}" destId="{6D99C0D4-CFB2-49AF-8198-DA377BA908CB}" srcOrd="0" destOrd="0" presId="urn:microsoft.com/office/officeart/2005/8/layout/vList2"/>
    <dgm:cxn modelId="{E630FBD7-88DA-41CF-AED7-47005A1E3DDA}" srcId="{45A18B1F-4F12-4164-BA5D-B32F8BBD5883}" destId="{BA56B8A4-8620-4702-BDA7-A179E5A8AA4F}" srcOrd="0" destOrd="0" parTransId="{2F5FC70C-CC32-4BF9-B708-117E96E4EFB9}" sibTransId="{98123B4A-1229-440B-AC68-70349AB7492D}"/>
    <dgm:cxn modelId="{32B55C1F-87F5-45E2-B403-16F98C3D26B4}" type="presParOf" srcId="{C31111CA-27BF-4EDA-85C6-D490A52A9A83}" destId="{6D99C0D4-CFB2-49AF-8198-DA377BA908CB}" srcOrd="0" destOrd="0" presId="urn:microsoft.com/office/officeart/2005/8/layout/vList2"/>
    <dgm:cxn modelId="{44E5A3F0-E1C4-47ED-9FD3-D3DEAA56A08C}" type="presParOf" srcId="{C31111CA-27BF-4EDA-85C6-D490A52A9A83}" destId="{332B86CC-1594-4E47-B124-09B9A39F7020}" srcOrd="1" destOrd="0" presId="urn:microsoft.com/office/officeart/2005/8/layout/vList2"/>
    <dgm:cxn modelId="{5EA9802B-62BE-4FC4-A584-65DC33680CD4}" type="presParOf" srcId="{C31111CA-27BF-4EDA-85C6-D490A52A9A83}" destId="{D82BF9D7-AA09-4E2F-B05D-CF8608A80215}"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CE86B845-CBD3-4645-944D-43C8B001A5ED}" type="doc">
      <dgm:prSet loTypeId="urn:microsoft.com/office/officeart/2005/8/layout/list1" loCatId="list" qsTypeId="urn:microsoft.com/office/officeart/2005/8/quickstyle/simple1" qsCatId="simple" csTypeId="urn:microsoft.com/office/officeart/2005/8/colors/accent1_2" csCatId="accent1"/>
      <dgm:spPr/>
      <dgm:t>
        <a:bodyPr/>
        <a:lstStyle/>
        <a:p>
          <a:endParaRPr lang="en-US"/>
        </a:p>
      </dgm:t>
    </dgm:pt>
    <dgm:pt modelId="{39FDBE01-754B-4A01-AF53-88D2EF6F6D46}">
      <dgm:prSet/>
      <dgm:spPr/>
      <dgm:t>
        <a:bodyPr/>
        <a:lstStyle/>
        <a:p>
          <a:r>
            <a:rPr lang="en-US" baseline="0" dirty="0"/>
            <a:t>Metric values </a:t>
          </a:r>
          <a:endParaRPr lang="en-US" dirty="0"/>
        </a:p>
      </dgm:t>
    </dgm:pt>
    <dgm:pt modelId="{B057E14B-44F6-4E01-835F-EA08376AF846}" type="parTrans" cxnId="{9F7E28D2-5072-4FD8-B85C-1ADE135D59DF}">
      <dgm:prSet/>
      <dgm:spPr/>
      <dgm:t>
        <a:bodyPr/>
        <a:lstStyle/>
        <a:p>
          <a:endParaRPr lang="en-US"/>
        </a:p>
      </dgm:t>
    </dgm:pt>
    <dgm:pt modelId="{4F3750E4-52A2-4C08-ACD9-877CAF34C658}" type="sibTrans" cxnId="{9F7E28D2-5072-4FD8-B85C-1ADE135D59DF}">
      <dgm:prSet/>
      <dgm:spPr/>
      <dgm:t>
        <a:bodyPr/>
        <a:lstStyle/>
        <a:p>
          <a:endParaRPr lang="en-US"/>
        </a:p>
      </dgm:t>
    </dgm:pt>
    <dgm:pt modelId="{866E361B-D591-47DF-9754-DC57632176A6}">
      <dgm:prSet/>
      <dgm:spPr/>
      <dgm:t>
        <a:bodyPr/>
        <a:lstStyle/>
        <a:p>
          <a:r>
            <a:rPr lang="en-US" baseline="0"/>
            <a:t>The alert triggers when the value of a specified metric crosses a threshold you assigned in either direction. It triggers when the condition is first met and then when that condition is no longer being met.	</a:t>
          </a:r>
          <a:endParaRPr lang="en-US"/>
        </a:p>
      </dgm:t>
    </dgm:pt>
    <dgm:pt modelId="{B0E228DC-3A47-42B6-AD2A-5357559F9AAC}" type="parTrans" cxnId="{DC7EAC7A-7C90-4F32-86FE-BFA03F86F438}">
      <dgm:prSet/>
      <dgm:spPr/>
      <dgm:t>
        <a:bodyPr/>
        <a:lstStyle/>
        <a:p>
          <a:endParaRPr lang="en-US"/>
        </a:p>
      </dgm:t>
    </dgm:pt>
    <dgm:pt modelId="{F57150AC-6969-4096-B7FC-C5E5562DCE99}" type="sibTrans" cxnId="{DC7EAC7A-7C90-4F32-86FE-BFA03F86F438}">
      <dgm:prSet/>
      <dgm:spPr/>
      <dgm:t>
        <a:bodyPr/>
        <a:lstStyle/>
        <a:p>
          <a:endParaRPr lang="en-US"/>
        </a:p>
      </dgm:t>
    </dgm:pt>
    <dgm:pt modelId="{2BA4BAA5-189A-48D1-8FDE-E53B6361CB97}">
      <dgm:prSet/>
      <dgm:spPr/>
      <dgm:t>
        <a:bodyPr/>
        <a:lstStyle/>
        <a:p>
          <a:r>
            <a:rPr lang="en-US" baseline="0"/>
            <a:t>Activity log events </a:t>
          </a:r>
          <a:endParaRPr lang="en-US"/>
        </a:p>
      </dgm:t>
    </dgm:pt>
    <dgm:pt modelId="{11659DAF-DFE8-481B-B674-8EC6F897C559}" type="parTrans" cxnId="{4ADBA948-A9FD-41A2-ADBA-444B9DC10F99}">
      <dgm:prSet/>
      <dgm:spPr/>
      <dgm:t>
        <a:bodyPr/>
        <a:lstStyle/>
        <a:p>
          <a:endParaRPr lang="en-US"/>
        </a:p>
      </dgm:t>
    </dgm:pt>
    <dgm:pt modelId="{3314E33D-1E4F-4955-84B0-C282502A3168}" type="sibTrans" cxnId="{4ADBA948-A9FD-41A2-ADBA-444B9DC10F99}">
      <dgm:prSet/>
      <dgm:spPr/>
      <dgm:t>
        <a:bodyPr/>
        <a:lstStyle/>
        <a:p>
          <a:endParaRPr lang="en-US"/>
        </a:p>
      </dgm:t>
    </dgm:pt>
    <dgm:pt modelId="{30FEBA5E-E99A-4CF3-ADB2-B5C6CD6FC6B8}">
      <dgm:prSet/>
      <dgm:spPr/>
      <dgm:t>
        <a:bodyPr/>
        <a:lstStyle/>
        <a:p>
          <a:r>
            <a:rPr lang="en-US" baseline="0"/>
            <a:t>An alert can trigger on every event, or, only when a certain number of events occur.</a:t>
          </a:r>
          <a:endParaRPr lang="en-US"/>
        </a:p>
      </dgm:t>
    </dgm:pt>
    <dgm:pt modelId="{F6ED430A-D270-419D-8521-E1D291983BCD}" type="parTrans" cxnId="{945F9B92-3C22-4554-9588-9A3E331574F5}">
      <dgm:prSet/>
      <dgm:spPr/>
      <dgm:t>
        <a:bodyPr/>
        <a:lstStyle/>
        <a:p>
          <a:endParaRPr lang="en-US"/>
        </a:p>
      </dgm:t>
    </dgm:pt>
    <dgm:pt modelId="{64AD0F55-C009-48A5-80F3-8A8C4B78AFB2}" type="sibTrans" cxnId="{945F9B92-3C22-4554-9588-9A3E331574F5}">
      <dgm:prSet/>
      <dgm:spPr/>
      <dgm:t>
        <a:bodyPr/>
        <a:lstStyle/>
        <a:p>
          <a:endParaRPr lang="en-US"/>
        </a:p>
      </dgm:t>
    </dgm:pt>
    <dgm:pt modelId="{F0F1169F-4B32-4B8C-8A50-3F90A19EE9F8}" type="pres">
      <dgm:prSet presAssocID="{CE86B845-CBD3-4645-944D-43C8B001A5ED}" presName="linear" presStyleCnt="0">
        <dgm:presLayoutVars>
          <dgm:dir/>
          <dgm:animLvl val="lvl"/>
          <dgm:resizeHandles val="exact"/>
        </dgm:presLayoutVars>
      </dgm:prSet>
      <dgm:spPr/>
    </dgm:pt>
    <dgm:pt modelId="{A0B5287F-F707-4B1C-9931-1139A0C2B9DF}" type="pres">
      <dgm:prSet presAssocID="{39FDBE01-754B-4A01-AF53-88D2EF6F6D46}" presName="parentLin" presStyleCnt="0"/>
      <dgm:spPr/>
    </dgm:pt>
    <dgm:pt modelId="{76A2F328-0242-4219-A816-5096FCA29DB8}" type="pres">
      <dgm:prSet presAssocID="{39FDBE01-754B-4A01-AF53-88D2EF6F6D46}" presName="parentLeftMargin" presStyleLbl="node1" presStyleIdx="0" presStyleCnt="2"/>
      <dgm:spPr/>
    </dgm:pt>
    <dgm:pt modelId="{6C0A1B25-8BB3-40B2-BD0B-7EB7630259F5}" type="pres">
      <dgm:prSet presAssocID="{39FDBE01-754B-4A01-AF53-88D2EF6F6D46}" presName="parentText" presStyleLbl="node1" presStyleIdx="0" presStyleCnt="2">
        <dgm:presLayoutVars>
          <dgm:chMax val="0"/>
          <dgm:bulletEnabled val="1"/>
        </dgm:presLayoutVars>
      </dgm:prSet>
      <dgm:spPr/>
    </dgm:pt>
    <dgm:pt modelId="{FAA03B68-0D8D-455D-B636-C56D0534F4A8}" type="pres">
      <dgm:prSet presAssocID="{39FDBE01-754B-4A01-AF53-88D2EF6F6D46}" presName="negativeSpace" presStyleCnt="0"/>
      <dgm:spPr/>
    </dgm:pt>
    <dgm:pt modelId="{47B5DB7F-2233-4B76-AAD6-1DCDF873FDA1}" type="pres">
      <dgm:prSet presAssocID="{39FDBE01-754B-4A01-AF53-88D2EF6F6D46}" presName="childText" presStyleLbl="conFgAcc1" presStyleIdx="0" presStyleCnt="2">
        <dgm:presLayoutVars>
          <dgm:bulletEnabled val="1"/>
        </dgm:presLayoutVars>
      </dgm:prSet>
      <dgm:spPr/>
    </dgm:pt>
    <dgm:pt modelId="{72995A9A-57C4-4BB8-92E9-3107228D18D0}" type="pres">
      <dgm:prSet presAssocID="{4F3750E4-52A2-4C08-ACD9-877CAF34C658}" presName="spaceBetweenRectangles" presStyleCnt="0"/>
      <dgm:spPr/>
    </dgm:pt>
    <dgm:pt modelId="{6F727470-DE9A-4344-961F-DA527B53E7C4}" type="pres">
      <dgm:prSet presAssocID="{2BA4BAA5-189A-48D1-8FDE-E53B6361CB97}" presName="parentLin" presStyleCnt="0"/>
      <dgm:spPr/>
    </dgm:pt>
    <dgm:pt modelId="{6CAD88E9-29D7-45B5-B52A-90787CDCACF9}" type="pres">
      <dgm:prSet presAssocID="{2BA4BAA5-189A-48D1-8FDE-E53B6361CB97}" presName="parentLeftMargin" presStyleLbl="node1" presStyleIdx="0" presStyleCnt="2"/>
      <dgm:spPr/>
    </dgm:pt>
    <dgm:pt modelId="{B451D7C2-FC8F-4FA2-8FA3-9032F66054DA}" type="pres">
      <dgm:prSet presAssocID="{2BA4BAA5-189A-48D1-8FDE-E53B6361CB97}" presName="parentText" presStyleLbl="node1" presStyleIdx="1" presStyleCnt="2">
        <dgm:presLayoutVars>
          <dgm:chMax val="0"/>
          <dgm:bulletEnabled val="1"/>
        </dgm:presLayoutVars>
      </dgm:prSet>
      <dgm:spPr/>
    </dgm:pt>
    <dgm:pt modelId="{EF0E4DF2-7FB8-4B7B-9FC0-5F92DC2B78BB}" type="pres">
      <dgm:prSet presAssocID="{2BA4BAA5-189A-48D1-8FDE-E53B6361CB97}" presName="negativeSpace" presStyleCnt="0"/>
      <dgm:spPr/>
    </dgm:pt>
    <dgm:pt modelId="{DD107CC7-8842-45A5-B858-94D5F4FFB419}" type="pres">
      <dgm:prSet presAssocID="{2BA4BAA5-189A-48D1-8FDE-E53B6361CB97}" presName="childText" presStyleLbl="conFgAcc1" presStyleIdx="1" presStyleCnt="2">
        <dgm:presLayoutVars>
          <dgm:bulletEnabled val="1"/>
        </dgm:presLayoutVars>
      </dgm:prSet>
      <dgm:spPr/>
    </dgm:pt>
  </dgm:ptLst>
  <dgm:cxnLst>
    <dgm:cxn modelId="{437DC707-EEC2-493F-88FC-788C25D4D369}" type="presOf" srcId="{30FEBA5E-E99A-4CF3-ADB2-B5C6CD6FC6B8}" destId="{DD107CC7-8842-45A5-B858-94D5F4FFB419}" srcOrd="0" destOrd="0" presId="urn:microsoft.com/office/officeart/2005/8/layout/list1"/>
    <dgm:cxn modelId="{49442509-B24E-40B4-A490-F5B1428A5A61}" type="presOf" srcId="{2BA4BAA5-189A-48D1-8FDE-E53B6361CB97}" destId="{6CAD88E9-29D7-45B5-B52A-90787CDCACF9}" srcOrd="0" destOrd="0" presId="urn:microsoft.com/office/officeart/2005/8/layout/list1"/>
    <dgm:cxn modelId="{C07C1D0E-705A-4043-8157-5A7B14E9D4F9}" type="presOf" srcId="{39FDBE01-754B-4A01-AF53-88D2EF6F6D46}" destId="{6C0A1B25-8BB3-40B2-BD0B-7EB7630259F5}" srcOrd="1" destOrd="0" presId="urn:microsoft.com/office/officeart/2005/8/layout/list1"/>
    <dgm:cxn modelId="{7602135E-C5E9-43B1-968F-3E773900DB59}" type="presOf" srcId="{866E361B-D591-47DF-9754-DC57632176A6}" destId="{47B5DB7F-2233-4B76-AAD6-1DCDF873FDA1}" srcOrd="0" destOrd="0" presId="urn:microsoft.com/office/officeart/2005/8/layout/list1"/>
    <dgm:cxn modelId="{24426667-444D-46CE-8CA9-A09C721517DA}" type="presOf" srcId="{CE86B845-CBD3-4645-944D-43C8B001A5ED}" destId="{F0F1169F-4B32-4B8C-8A50-3F90A19EE9F8}" srcOrd="0" destOrd="0" presId="urn:microsoft.com/office/officeart/2005/8/layout/list1"/>
    <dgm:cxn modelId="{4ADBA948-A9FD-41A2-ADBA-444B9DC10F99}" srcId="{CE86B845-CBD3-4645-944D-43C8B001A5ED}" destId="{2BA4BAA5-189A-48D1-8FDE-E53B6361CB97}" srcOrd="1" destOrd="0" parTransId="{11659DAF-DFE8-481B-B674-8EC6F897C559}" sibTransId="{3314E33D-1E4F-4955-84B0-C282502A3168}"/>
    <dgm:cxn modelId="{DC7EAC7A-7C90-4F32-86FE-BFA03F86F438}" srcId="{39FDBE01-754B-4A01-AF53-88D2EF6F6D46}" destId="{866E361B-D591-47DF-9754-DC57632176A6}" srcOrd="0" destOrd="0" parTransId="{B0E228DC-3A47-42B6-AD2A-5357559F9AAC}" sibTransId="{F57150AC-6969-4096-B7FC-C5E5562DCE99}"/>
    <dgm:cxn modelId="{51F9198C-E368-4621-A5A6-70ABDF626991}" type="presOf" srcId="{2BA4BAA5-189A-48D1-8FDE-E53B6361CB97}" destId="{B451D7C2-FC8F-4FA2-8FA3-9032F66054DA}" srcOrd="1" destOrd="0" presId="urn:microsoft.com/office/officeart/2005/8/layout/list1"/>
    <dgm:cxn modelId="{945F9B92-3C22-4554-9588-9A3E331574F5}" srcId="{2BA4BAA5-189A-48D1-8FDE-E53B6361CB97}" destId="{30FEBA5E-E99A-4CF3-ADB2-B5C6CD6FC6B8}" srcOrd="0" destOrd="0" parTransId="{F6ED430A-D270-419D-8521-E1D291983BCD}" sibTransId="{64AD0F55-C009-48A5-80F3-8A8C4B78AFB2}"/>
    <dgm:cxn modelId="{5FFB35C1-227B-4BB2-BBFC-26FEAEDA5149}" type="presOf" srcId="{39FDBE01-754B-4A01-AF53-88D2EF6F6D46}" destId="{76A2F328-0242-4219-A816-5096FCA29DB8}" srcOrd="0" destOrd="0" presId="urn:microsoft.com/office/officeart/2005/8/layout/list1"/>
    <dgm:cxn modelId="{9F7E28D2-5072-4FD8-B85C-1ADE135D59DF}" srcId="{CE86B845-CBD3-4645-944D-43C8B001A5ED}" destId="{39FDBE01-754B-4A01-AF53-88D2EF6F6D46}" srcOrd="0" destOrd="0" parTransId="{B057E14B-44F6-4E01-835F-EA08376AF846}" sibTransId="{4F3750E4-52A2-4C08-ACD9-877CAF34C658}"/>
    <dgm:cxn modelId="{EEA01EB4-9585-475C-A880-E56018DD4AD1}" type="presParOf" srcId="{F0F1169F-4B32-4B8C-8A50-3F90A19EE9F8}" destId="{A0B5287F-F707-4B1C-9931-1139A0C2B9DF}" srcOrd="0" destOrd="0" presId="urn:microsoft.com/office/officeart/2005/8/layout/list1"/>
    <dgm:cxn modelId="{4F5B4784-DA4C-492E-8C67-F386D9D53417}" type="presParOf" srcId="{A0B5287F-F707-4B1C-9931-1139A0C2B9DF}" destId="{76A2F328-0242-4219-A816-5096FCA29DB8}" srcOrd="0" destOrd="0" presId="urn:microsoft.com/office/officeart/2005/8/layout/list1"/>
    <dgm:cxn modelId="{5BB8FBCD-8FA4-4041-968A-909E65777E6E}" type="presParOf" srcId="{A0B5287F-F707-4B1C-9931-1139A0C2B9DF}" destId="{6C0A1B25-8BB3-40B2-BD0B-7EB7630259F5}" srcOrd="1" destOrd="0" presId="urn:microsoft.com/office/officeart/2005/8/layout/list1"/>
    <dgm:cxn modelId="{A8F65EFE-A353-4339-82DD-AD16EBE8A315}" type="presParOf" srcId="{F0F1169F-4B32-4B8C-8A50-3F90A19EE9F8}" destId="{FAA03B68-0D8D-455D-B636-C56D0534F4A8}" srcOrd="1" destOrd="0" presId="urn:microsoft.com/office/officeart/2005/8/layout/list1"/>
    <dgm:cxn modelId="{FD35F9E5-D348-49E2-9098-2C4486F3FD53}" type="presParOf" srcId="{F0F1169F-4B32-4B8C-8A50-3F90A19EE9F8}" destId="{47B5DB7F-2233-4B76-AAD6-1DCDF873FDA1}" srcOrd="2" destOrd="0" presId="urn:microsoft.com/office/officeart/2005/8/layout/list1"/>
    <dgm:cxn modelId="{F40ADFD4-0CD4-4F44-B96F-BE51EAA9AB19}" type="presParOf" srcId="{F0F1169F-4B32-4B8C-8A50-3F90A19EE9F8}" destId="{72995A9A-57C4-4BB8-92E9-3107228D18D0}" srcOrd="3" destOrd="0" presId="urn:microsoft.com/office/officeart/2005/8/layout/list1"/>
    <dgm:cxn modelId="{88E147F2-C5AE-4288-8543-3D03795714D3}" type="presParOf" srcId="{F0F1169F-4B32-4B8C-8A50-3F90A19EE9F8}" destId="{6F727470-DE9A-4344-961F-DA527B53E7C4}" srcOrd="4" destOrd="0" presId="urn:microsoft.com/office/officeart/2005/8/layout/list1"/>
    <dgm:cxn modelId="{125D1FCF-09B7-42C0-A93F-A42C2AE1DBF7}" type="presParOf" srcId="{6F727470-DE9A-4344-961F-DA527B53E7C4}" destId="{6CAD88E9-29D7-45B5-B52A-90787CDCACF9}" srcOrd="0" destOrd="0" presId="urn:microsoft.com/office/officeart/2005/8/layout/list1"/>
    <dgm:cxn modelId="{1DAF43F9-7DBF-4173-A2C3-1BDA9AED16C0}" type="presParOf" srcId="{6F727470-DE9A-4344-961F-DA527B53E7C4}" destId="{B451D7C2-FC8F-4FA2-8FA3-9032F66054DA}" srcOrd="1" destOrd="0" presId="urn:microsoft.com/office/officeart/2005/8/layout/list1"/>
    <dgm:cxn modelId="{17323A9D-D640-40D7-85A3-A68896E9FC1B}" type="presParOf" srcId="{F0F1169F-4B32-4B8C-8A50-3F90A19EE9F8}" destId="{EF0E4DF2-7FB8-4B7B-9FC0-5F92DC2B78BB}" srcOrd="5" destOrd="0" presId="urn:microsoft.com/office/officeart/2005/8/layout/list1"/>
    <dgm:cxn modelId="{7B359A79-0A13-401D-A938-52574BDE0FD5}" type="presParOf" srcId="{F0F1169F-4B32-4B8C-8A50-3F90A19EE9F8}" destId="{DD107CC7-8842-45A5-B858-94D5F4FFB419}"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292C17CC-9B47-4B82-BBBF-D5CEFB37E25E}" type="doc">
      <dgm:prSet loTypeId="urn:microsoft.com/office/officeart/2005/8/layout/list1" loCatId="list" qsTypeId="urn:microsoft.com/office/officeart/2005/8/quickstyle/simple1" qsCatId="simple" csTypeId="urn:microsoft.com/office/officeart/2005/8/colors/accent1_2" csCatId="accent1"/>
      <dgm:spPr/>
      <dgm:t>
        <a:bodyPr/>
        <a:lstStyle/>
        <a:p>
          <a:endParaRPr lang="en-US"/>
        </a:p>
      </dgm:t>
    </dgm:pt>
    <dgm:pt modelId="{5FCC3E32-CB5E-49F8-8AFF-6C2141D188B5}">
      <dgm:prSet/>
      <dgm:spPr/>
      <dgm:t>
        <a:bodyPr/>
        <a:lstStyle/>
        <a:p>
          <a:r>
            <a:rPr lang="en-US"/>
            <a:t>You can configure an alert to do the following when it triggers:</a:t>
          </a:r>
        </a:p>
      </dgm:t>
    </dgm:pt>
    <dgm:pt modelId="{118ED35B-CB36-48E7-B90D-3439026BE022}" type="parTrans" cxnId="{CD164199-768A-40D1-BFAD-085226461A03}">
      <dgm:prSet/>
      <dgm:spPr/>
      <dgm:t>
        <a:bodyPr/>
        <a:lstStyle/>
        <a:p>
          <a:endParaRPr lang="en-US"/>
        </a:p>
      </dgm:t>
    </dgm:pt>
    <dgm:pt modelId="{F0ECAC4F-3A62-48F5-9EE0-B99F9616F5C6}" type="sibTrans" cxnId="{CD164199-768A-40D1-BFAD-085226461A03}">
      <dgm:prSet/>
      <dgm:spPr/>
      <dgm:t>
        <a:bodyPr/>
        <a:lstStyle/>
        <a:p>
          <a:endParaRPr lang="en-US"/>
        </a:p>
      </dgm:t>
    </dgm:pt>
    <dgm:pt modelId="{5DC7D26B-419C-462B-B48B-0D87051BBBA7}">
      <dgm:prSet/>
      <dgm:spPr/>
      <dgm:t>
        <a:bodyPr/>
        <a:lstStyle/>
        <a:p>
          <a:r>
            <a:rPr lang="en-US"/>
            <a:t>Send email notifications to the service administrator and co-administrators.</a:t>
          </a:r>
        </a:p>
      </dgm:t>
    </dgm:pt>
    <dgm:pt modelId="{DFC69574-2C8C-4929-9FA7-D20374978080}" type="parTrans" cxnId="{C30C5B9F-71A7-48EC-9446-999F34ABB053}">
      <dgm:prSet/>
      <dgm:spPr/>
      <dgm:t>
        <a:bodyPr/>
        <a:lstStyle/>
        <a:p>
          <a:endParaRPr lang="en-US"/>
        </a:p>
      </dgm:t>
    </dgm:pt>
    <dgm:pt modelId="{1E78E5F6-70A1-4406-B34F-BABC4C66CB34}" type="sibTrans" cxnId="{C30C5B9F-71A7-48EC-9446-999F34ABB053}">
      <dgm:prSet/>
      <dgm:spPr/>
      <dgm:t>
        <a:bodyPr/>
        <a:lstStyle/>
        <a:p>
          <a:endParaRPr lang="en-US"/>
        </a:p>
      </dgm:t>
    </dgm:pt>
    <dgm:pt modelId="{ED2D009C-EDA4-48D7-B289-155FF3FC4B09}">
      <dgm:prSet/>
      <dgm:spPr/>
      <dgm:t>
        <a:bodyPr/>
        <a:lstStyle/>
        <a:p>
          <a:r>
            <a:rPr lang="en-US" dirty="0"/>
            <a:t>Send email to additional emails that you specify.</a:t>
          </a:r>
        </a:p>
      </dgm:t>
    </dgm:pt>
    <dgm:pt modelId="{F0DCD038-EBD9-4C62-895A-44BF002FD234}" type="parTrans" cxnId="{7A003426-5CB6-4B02-AF2B-8B52BA54C60E}">
      <dgm:prSet/>
      <dgm:spPr/>
      <dgm:t>
        <a:bodyPr/>
        <a:lstStyle/>
        <a:p>
          <a:endParaRPr lang="en-US"/>
        </a:p>
      </dgm:t>
    </dgm:pt>
    <dgm:pt modelId="{0D986914-17B6-4D0F-9410-3007F2EF07EA}" type="sibTrans" cxnId="{7A003426-5CB6-4B02-AF2B-8B52BA54C60E}">
      <dgm:prSet/>
      <dgm:spPr/>
      <dgm:t>
        <a:bodyPr/>
        <a:lstStyle/>
        <a:p>
          <a:endParaRPr lang="en-US"/>
        </a:p>
      </dgm:t>
    </dgm:pt>
    <dgm:pt modelId="{7ADB2914-45D1-4F8B-B2A7-EF51F979A414}">
      <dgm:prSet/>
      <dgm:spPr/>
      <dgm:t>
        <a:bodyPr/>
        <a:lstStyle/>
        <a:p>
          <a:r>
            <a:rPr lang="en-US"/>
            <a:t>Call a webhook</a:t>
          </a:r>
        </a:p>
      </dgm:t>
    </dgm:pt>
    <dgm:pt modelId="{4B672E77-DD3A-46E4-912E-8D5E0CB255B6}" type="parTrans" cxnId="{F87B3283-86D1-4BCB-9D4A-2C8B42A520B6}">
      <dgm:prSet/>
      <dgm:spPr/>
      <dgm:t>
        <a:bodyPr/>
        <a:lstStyle/>
        <a:p>
          <a:endParaRPr lang="en-US"/>
        </a:p>
      </dgm:t>
    </dgm:pt>
    <dgm:pt modelId="{3F08DB34-0CA7-4185-A516-45F06BF5351F}" type="sibTrans" cxnId="{F87B3283-86D1-4BCB-9D4A-2C8B42A520B6}">
      <dgm:prSet/>
      <dgm:spPr/>
      <dgm:t>
        <a:bodyPr/>
        <a:lstStyle/>
        <a:p>
          <a:endParaRPr lang="en-US"/>
        </a:p>
      </dgm:t>
    </dgm:pt>
    <dgm:pt modelId="{8769BAE7-0EEF-4881-AE23-6CCA6F18663D}">
      <dgm:prSet/>
      <dgm:spPr/>
      <dgm:t>
        <a:bodyPr/>
        <a:lstStyle/>
        <a:p>
          <a:r>
            <a:rPr lang="en-US"/>
            <a:t>You can configure and get information about alert rules using</a:t>
          </a:r>
        </a:p>
      </dgm:t>
    </dgm:pt>
    <dgm:pt modelId="{28BED366-B009-4228-AB81-4E45CE5F729E}" type="parTrans" cxnId="{C92ED54D-08F5-4274-BE61-A27369531279}">
      <dgm:prSet/>
      <dgm:spPr/>
      <dgm:t>
        <a:bodyPr/>
        <a:lstStyle/>
        <a:p>
          <a:endParaRPr lang="en-US"/>
        </a:p>
      </dgm:t>
    </dgm:pt>
    <dgm:pt modelId="{E3CE06FF-8E4A-4B89-8593-3B95BD8D3504}" type="sibTrans" cxnId="{C92ED54D-08F5-4274-BE61-A27369531279}">
      <dgm:prSet/>
      <dgm:spPr/>
      <dgm:t>
        <a:bodyPr/>
        <a:lstStyle/>
        <a:p>
          <a:endParaRPr lang="en-US"/>
        </a:p>
      </dgm:t>
    </dgm:pt>
    <dgm:pt modelId="{E97D24F4-8DF8-404D-B06C-67ADAC954BAC}">
      <dgm:prSet/>
      <dgm:spPr/>
      <dgm:t>
        <a:bodyPr/>
        <a:lstStyle/>
        <a:p>
          <a:r>
            <a:rPr lang="en-US"/>
            <a:t>Azure portal</a:t>
          </a:r>
        </a:p>
      </dgm:t>
    </dgm:pt>
    <dgm:pt modelId="{D1A27B63-EAF5-4264-B64F-782172337C06}" type="parTrans" cxnId="{6A6CE370-B72A-48F7-97B9-ABC31E1F19B6}">
      <dgm:prSet/>
      <dgm:spPr/>
      <dgm:t>
        <a:bodyPr/>
        <a:lstStyle/>
        <a:p>
          <a:endParaRPr lang="en-US"/>
        </a:p>
      </dgm:t>
    </dgm:pt>
    <dgm:pt modelId="{AA3B2BB9-CCFA-41D6-9F05-AD54EDBDC3DE}" type="sibTrans" cxnId="{6A6CE370-B72A-48F7-97B9-ABC31E1F19B6}">
      <dgm:prSet/>
      <dgm:spPr/>
      <dgm:t>
        <a:bodyPr/>
        <a:lstStyle/>
        <a:p>
          <a:endParaRPr lang="en-US"/>
        </a:p>
      </dgm:t>
    </dgm:pt>
    <dgm:pt modelId="{E856C862-F472-464E-8C00-E5369EB1454F}">
      <dgm:prSet/>
      <dgm:spPr/>
      <dgm:t>
        <a:bodyPr/>
        <a:lstStyle/>
        <a:p>
          <a:r>
            <a:rPr lang="en-US"/>
            <a:t>PowerShell</a:t>
          </a:r>
        </a:p>
      </dgm:t>
    </dgm:pt>
    <dgm:pt modelId="{7FC7F0D7-F23A-4B5B-A79E-B0A7CB11FFB2}" type="parTrans" cxnId="{59E52341-4CD8-478D-8D63-DF7404228879}">
      <dgm:prSet/>
      <dgm:spPr/>
      <dgm:t>
        <a:bodyPr/>
        <a:lstStyle/>
        <a:p>
          <a:endParaRPr lang="en-US"/>
        </a:p>
      </dgm:t>
    </dgm:pt>
    <dgm:pt modelId="{EE45E660-94F0-4765-9FF2-81DD72EE31DA}" type="sibTrans" cxnId="{59E52341-4CD8-478D-8D63-DF7404228879}">
      <dgm:prSet/>
      <dgm:spPr/>
      <dgm:t>
        <a:bodyPr/>
        <a:lstStyle/>
        <a:p>
          <a:endParaRPr lang="en-US"/>
        </a:p>
      </dgm:t>
    </dgm:pt>
    <dgm:pt modelId="{B8CE1581-F1CA-49DD-A829-304BAB49A8AC}">
      <dgm:prSet/>
      <dgm:spPr/>
      <dgm:t>
        <a:bodyPr/>
        <a:lstStyle/>
        <a:p>
          <a:r>
            <a:rPr lang="en-US"/>
            <a:t>command-line interface (CLI).</a:t>
          </a:r>
        </a:p>
      </dgm:t>
    </dgm:pt>
    <dgm:pt modelId="{40A3D5F2-620F-40BD-B9CB-9D7C2131452E}" type="parTrans" cxnId="{9C4F8699-4FBC-49A7-A5DC-A4D9317B012A}">
      <dgm:prSet/>
      <dgm:spPr/>
      <dgm:t>
        <a:bodyPr/>
        <a:lstStyle/>
        <a:p>
          <a:endParaRPr lang="en-US"/>
        </a:p>
      </dgm:t>
    </dgm:pt>
    <dgm:pt modelId="{F8BD5F8D-93B7-4F59-8D38-7BE0CD0CB163}" type="sibTrans" cxnId="{9C4F8699-4FBC-49A7-A5DC-A4D9317B012A}">
      <dgm:prSet/>
      <dgm:spPr/>
      <dgm:t>
        <a:bodyPr/>
        <a:lstStyle/>
        <a:p>
          <a:endParaRPr lang="en-US"/>
        </a:p>
      </dgm:t>
    </dgm:pt>
    <dgm:pt modelId="{C841709D-FFA7-4FBE-8BF0-1E4EB7077F09}">
      <dgm:prSet/>
      <dgm:spPr/>
      <dgm:t>
        <a:bodyPr/>
        <a:lstStyle/>
        <a:p>
          <a:r>
            <a:rPr lang="en-US"/>
            <a:t>Azure Monitor REST API.</a:t>
          </a:r>
        </a:p>
      </dgm:t>
    </dgm:pt>
    <dgm:pt modelId="{F2D39F43-D855-4B45-B999-9EDF4D3F0A6C}" type="parTrans" cxnId="{4017003B-66DB-4840-86FD-9E6EBF2AD5B3}">
      <dgm:prSet/>
      <dgm:spPr/>
      <dgm:t>
        <a:bodyPr/>
        <a:lstStyle/>
        <a:p>
          <a:endParaRPr lang="en-US"/>
        </a:p>
      </dgm:t>
    </dgm:pt>
    <dgm:pt modelId="{A05B4F89-3B02-43DB-B3D5-C83361CD5658}" type="sibTrans" cxnId="{4017003B-66DB-4840-86FD-9E6EBF2AD5B3}">
      <dgm:prSet/>
      <dgm:spPr/>
      <dgm:t>
        <a:bodyPr/>
        <a:lstStyle/>
        <a:p>
          <a:endParaRPr lang="en-US"/>
        </a:p>
      </dgm:t>
    </dgm:pt>
    <dgm:pt modelId="{2879C3E4-EE62-416E-B940-258D600A8CEC}" type="pres">
      <dgm:prSet presAssocID="{292C17CC-9B47-4B82-BBBF-D5CEFB37E25E}" presName="linear" presStyleCnt="0">
        <dgm:presLayoutVars>
          <dgm:dir/>
          <dgm:animLvl val="lvl"/>
          <dgm:resizeHandles val="exact"/>
        </dgm:presLayoutVars>
      </dgm:prSet>
      <dgm:spPr/>
    </dgm:pt>
    <dgm:pt modelId="{62270283-828F-4842-B9BF-3468470AA281}" type="pres">
      <dgm:prSet presAssocID="{5FCC3E32-CB5E-49F8-8AFF-6C2141D188B5}" presName="parentLin" presStyleCnt="0"/>
      <dgm:spPr/>
    </dgm:pt>
    <dgm:pt modelId="{4A2EBBAA-3C3A-4686-B42E-AF39B999CC22}" type="pres">
      <dgm:prSet presAssocID="{5FCC3E32-CB5E-49F8-8AFF-6C2141D188B5}" presName="parentLeftMargin" presStyleLbl="node1" presStyleIdx="0" presStyleCnt="2"/>
      <dgm:spPr/>
    </dgm:pt>
    <dgm:pt modelId="{F6E4D469-0DF8-4712-A146-DF554DDDD6A3}" type="pres">
      <dgm:prSet presAssocID="{5FCC3E32-CB5E-49F8-8AFF-6C2141D188B5}" presName="parentText" presStyleLbl="node1" presStyleIdx="0" presStyleCnt="2">
        <dgm:presLayoutVars>
          <dgm:chMax val="0"/>
          <dgm:bulletEnabled val="1"/>
        </dgm:presLayoutVars>
      </dgm:prSet>
      <dgm:spPr/>
    </dgm:pt>
    <dgm:pt modelId="{5FC7E444-B9C2-4E5B-818D-BBFC4C62DAC7}" type="pres">
      <dgm:prSet presAssocID="{5FCC3E32-CB5E-49F8-8AFF-6C2141D188B5}" presName="negativeSpace" presStyleCnt="0"/>
      <dgm:spPr/>
    </dgm:pt>
    <dgm:pt modelId="{3B97C360-583C-4042-92A2-C12940117C98}" type="pres">
      <dgm:prSet presAssocID="{5FCC3E32-CB5E-49F8-8AFF-6C2141D188B5}" presName="childText" presStyleLbl="conFgAcc1" presStyleIdx="0" presStyleCnt="2">
        <dgm:presLayoutVars>
          <dgm:bulletEnabled val="1"/>
        </dgm:presLayoutVars>
      </dgm:prSet>
      <dgm:spPr/>
    </dgm:pt>
    <dgm:pt modelId="{EFBEB502-4F49-4523-AFEA-7175A8ED3A36}" type="pres">
      <dgm:prSet presAssocID="{F0ECAC4F-3A62-48F5-9EE0-B99F9616F5C6}" presName="spaceBetweenRectangles" presStyleCnt="0"/>
      <dgm:spPr/>
    </dgm:pt>
    <dgm:pt modelId="{F8C7EDF1-FFDB-43C0-AFEB-5C03C6E7937B}" type="pres">
      <dgm:prSet presAssocID="{8769BAE7-0EEF-4881-AE23-6CCA6F18663D}" presName="parentLin" presStyleCnt="0"/>
      <dgm:spPr/>
    </dgm:pt>
    <dgm:pt modelId="{FD1C3D4B-559F-4CF6-A90E-A418294559DB}" type="pres">
      <dgm:prSet presAssocID="{8769BAE7-0EEF-4881-AE23-6CCA6F18663D}" presName="parentLeftMargin" presStyleLbl="node1" presStyleIdx="0" presStyleCnt="2"/>
      <dgm:spPr/>
    </dgm:pt>
    <dgm:pt modelId="{9D2AD4F4-6A62-4376-9735-4A2C5811E823}" type="pres">
      <dgm:prSet presAssocID="{8769BAE7-0EEF-4881-AE23-6CCA6F18663D}" presName="parentText" presStyleLbl="node1" presStyleIdx="1" presStyleCnt="2">
        <dgm:presLayoutVars>
          <dgm:chMax val="0"/>
          <dgm:bulletEnabled val="1"/>
        </dgm:presLayoutVars>
      </dgm:prSet>
      <dgm:spPr/>
    </dgm:pt>
    <dgm:pt modelId="{43D20F02-A786-40A8-A434-F3525C1BC533}" type="pres">
      <dgm:prSet presAssocID="{8769BAE7-0EEF-4881-AE23-6CCA6F18663D}" presName="negativeSpace" presStyleCnt="0"/>
      <dgm:spPr/>
    </dgm:pt>
    <dgm:pt modelId="{7017F526-1DA0-4D1F-A05B-3283388207E8}" type="pres">
      <dgm:prSet presAssocID="{8769BAE7-0EEF-4881-AE23-6CCA6F18663D}" presName="childText" presStyleLbl="conFgAcc1" presStyleIdx="1" presStyleCnt="2">
        <dgm:presLayoutVars>
          <dgm:bulletEnabled val="1"/>
        </dgm:presLayoutVars>
      </dgm:prSet>
      <dgm:spPr/>
    </dgm:pt>
  </dgm:ptLst>
  <dgm:cxnLst>
    <dgm:cxn modelId="{CAE97100-2430-4A8F-AA8D-D8C27A35FDDC}" type="presOf" srcId="{8769BAE7-0EEF-4881-AE23-6CCA6F18663D}" destId="{9D2AD4F4-6A62-4376-9735-4A2C5811E823}" srcOrd="1" destOrd="0" presId="urn:microsoft.com/office/officeart/2005/8/layout/list1"/>
    <dgm:cxn modelId="{2E292002-4AAC-4B4E-B563-A3C0733C5355}" type="presOf" srcId="{292C17CC-9B47-4B82-BBBF-D5CEFB37E25E}" destId="{2879C3E4-EE62-416E-B940-258D600A8CEC}" srcOrd="0" destOrd="0" presId="urn:microsoft.com/office/officeart/2005/8/layout/list1"/>
    <dgm:cxn modelId="{CDEB9506-3AAC-4E2B-82F9-61022B0ABF59}" type="presOf" srcId="{E856C862-F472-464E-8C00-E5369EB1454F}" destId="{7017F526-1DA0-4D1F-A05B-3283388207E8}" srcOrd="0" destOrd="1" presId="urn:microsoft.com/office/officeart/2005/8/layout/list1"/>
    <dgm:cxn modelId="{D945CE0C-F43C-49DF-AF2A-E728658CE1F6}" type="presOf" srcId="{E97D24F4-8DF8-404D-B06C-67ADAC954BAC}" destId="{7017F526-1DA0-4D1F-A05B-3283388207E8}" srcOrd="0" destOrd="0" presId="urn:microsoft.com/office/officeart/2005/8/layout/list1"/>
    <dgm:cxn modelId="{BFE5210D-26FF-41E9-A460-701E1F6B2E67}" type="presOf" srcId="{8769BAE7-0EEF-4881-AE23-6CCA6F18663D}" destId="{FD1C3D4B-559F-4CF6-A90E-A418294559DB}" srcOrd="0" destOrd="0" presId="urn:microsoft.com/office/officeart/2005/8/layout/list1"/>
    <dgm:cxn modelId="{7A003426-5CB6-4B02-AF2B-8B52BA54C60E}" srcId="{5FCC3E32-CB5E-49F8-8AFF-6C2141D188B5}" destId="{ED2D009C-EDA4-48D7-B289-155FF3FC4B09}" srcOrd="1" destOrd="0" parTransId="{F0DCD038-EBD9-4C62-895A-44BF002FD234}" sibTransId="{0D986914-17B6-4D0F-9410-3007F2EF07EA}"/>
    <dgm:cxn modelId="{8F262B2E-646A-43F2-8388-302FCD151639}" type="presOf" srcId="{5FCC3E32-CB5E-49F8-8AFF-6C2141D188B5}" destId="{F6E4D469-0DF8-4712-A146-DF554DDDD6A3}" srcOrd="1" destOrd="0" presId="urn:microsoft.com/office/officeart/2005/8/layout/list1"/>
    <dgm:cxn modelId="{0B6E2D33-374E-40D4-B583-E89EF35B0F03}" type="presOf" srcId="{7ADB2914-45D1-4F8B-B2A7-EF51F979A414}" destId="{3B97C360-583C-4042-92A2-C12940117C98}" srcOrd="0" destOrd="2" presId="urn:microsoft.com/office/officeart/2005/8/layout/list1"/>
    <dgm:cxn modelId="{4017003B-66DB-4840-86FD-9E6EBF2AD5B3}" srcId="{8769BAE7-0EEF-4881-AE23-6CCA6F18663D}" destId="{C841709D-FFA7-4FBE-8BF0-1E4EB7077F09}" srcOrd="3" destOrd="0" parTransId="{F2D39F43-D855-4B45-B999-9EDF4D3F0A6C}" sibTransId="{A05B4F89-3B02-43DB-B3D5-C83361CD5658}"/>
    <dgm:cxn modelId="{59E52341-4CD8-478D-8D63-DF7404228879}" srcId="{8769BAE7-0EEF-4881-AE23-6CCA6F18663D}" destId="{E856C862-F472-464E-8C00-E5369EB1454F}" srcOrd="1" destOrd="0" parTransId="{7FC7F0D7-F23A-4B5B-A79E-B0A7CB11FFB2}" sibTransId="{EE45E660-94F0-4765-9FF2-81DD72EE31DA}"/>
    <dgm:cxn modelId="{C92ED54D-08F5-4274-BE61-A27369531279}" srcId="{292C17CC-9B47-4B82-BBBF-D5CEFB37E25E}" destId="{8769BAE7-0EEF-4881-AE23-6CCA6F18663D}" srcOrd="1" destOrd="0" parTransId="{28BED366-B009-4228-AB81-4E45CE5F729E}" sibTransId="{E3CE06FF-8E4A-4B89-8593-3B95BD8D3504}"/>
    <dgm:cxn modelId="{6A6CE370-B72A-48F7-97B9-ABC31E1F19B6}" srcId="{8769BAE7-0EEF-4881-AE23-6CCA6F18663D}" destId="{E97D24F4-8DF8-404D-B06C-67ADAC954BAC}" srcOrd="0" destOrd="0" parTransId="{D1A27B63-EAF5-4264-B64F-782172337C06}" sibTransId="{AA3B2BB9-CCFA-41D6-9F05-AD54EDBDC3DE}"/>
    <dgm:cxn modelId="{B70EB474-0BD5-470D-B777-FF0089166A3A}" type="presOf" srcId="{5DC7D26B-419C-462B-B48B-0D87051BBBA7}" destId="{3B97C360-583C-4042-92A2-C12940117C98}" srcOrd="0" destOrd="0" presId="urn:microsoft.com/office/officeart/2005/8/layout/list1"/>
    <dgm:cxn modelId="{E17B0576-691E-4F1A-B85F-F854BD3A26EE}" type="presOf" srcId="{C841709D-FFA7-4FBE-8BF0-1E4EB7077F09}" destId="{7017F526-1DA0-4D1F-A05B-3283388207E8}" srcOrd="0" destOrd="3" presId="urn:microsoft.com/office/officeart/2005/8/layout/list1"/>
    <dgm:cxn modelId="{0838F081-FF55-435F-87D1-83B700889AC9}" type="presOf" srcId="{5FCC3E32-CB5E-49F8-8AFF-6C2141D188B5}" destId="{4A2EBBAA-3C3A-4686-B42E-AF39B999CC22}" srcOrd="0" destOrd="0" presId="urn:microsoft.com/office/officeart/2005/8/layout/list1"/>
    <dgm:cxn modelId="{F87B3283-86D1-4BCB-9D4A-2C8B42A520B6}" srcId="{5FCC3E32-CB5E-49F8-8AFF-6C2141D188B5}" destId="{7ADB2914-45D1-4F8B-B2A7-EF51F979A414}" srcOrd="2" destOrd="0" parTransId="{4B672E77-DD3A-46E4-912E-8D5E0CB255B6}" sibTransId="{3F08DB34-0CA7-4185-A516-45F06BF5351F}"/>
    <dgm:cxn modelId="{CD164199-768A-40D1-BFAD-085226461A03}" srcId="{292C17CC-9B47-4B82-BBBF-D5CEFB37E25E}" destId="{5FCC3E32-CB5E-49F8-8AFF-6C2141D188B5}" srcOrd="0" destOrd="0" parTransId="{118ED35B-CB36-48E7-B90D-3439026BE022}" sibTransId="{F0ECAC4F-3A62-48F5-9EE0-B99F9616F5C6}"/>
    <dgm:cxn modelId="{9C4F8699-4FBC-49A7-A5DC-A4D9317B012A}" srcId="{8769BAE7-0EEF-4881-AE23-6CCA6F18663D}" destId="{B8CE1581-F1CA-49DD-A829-304BAB49A8AC}" srcOrd="2" destOrd="0" parTransId="{40A3D5F2-620F-40BD-B9CB-9D7C2131452E}" sibTransId="{F8BD5F8D-93B7-4F59-8D38-7BE0CD0CB163}"/>
    <dgm:cxn modelId="{C30C5B9F-71A7-48EC-9446-999F34ABB053}" srcId="{5FCC3E32-CB5E-49F8-8AFF-6C2141D188B5}" destId="{5DC7D26B-419C-462B-B48B-0D87051BBBA7}" srcOrd="0" destOrd="0" parTransId="{DFC69574-2C8C-4929-9FA7-D20374978080}" sibTransId="{1E78E5F6-70A1-4406-B34F-BABC4C66CB34}"/>
    <dgm:cxn modelId="{8EA2D4DA-A626-4F2C-AB57-21E742CD4B54}" type="presOf" srcId="{ED2D009C-EDA4-48D7-B289-155FF3FC4B09}" destId="{3B97C360-583C-4042-92A2-C12940117C98}" srcOrd="0" destOrd="1" presId="urn:microsoft.com/office/officeart/2005/8/layout/list1"/>
    <dgm:cxn modelId="{99F2BCF7-F9FF-43BA-9BD6-C1A01CE7FB62}" type="presOf" srcId="{B8CE1581-F1CA-49DD-A829-304BAB49A8AC}" destId="{7017F526-1DA0-4D1F-A05B-3283388207E8}" srcOrd="0" destOrd="2" presId="urn:microsoft.com/office/officeart/2005/8/layout/list1"/>
    <dgm:cxn modelId="{EB5DED8E-2734-4902-9F81-FA2C9842DE96}" type="presParOf" srcId="{2879C3E4-EE62-416E-B940-258D600A8CEC}" destId="{62270283-828F-4842-B9BF-3468470AA281}" srcOrd="0" destOrd="0" presId="urn:microsoft.com/office/officeart/2005/8/layout/list1"/>
    <dgm:cxn modelId="{81E0ECCD-CAB4-437A-8235-C2800B834DE8}" type="presParOf" srcId="{62270283-828F-4842-B9BF-3468470AA281}" destId="{4A2EBBAA-3C3A-4686-B42E-AF39B999CC22}" srcOrd="0" destOrd="0" presId="urn:microsoft.com/office/officeart/2005/8/layout/list1"/>
    <dgm:cxn modelId="{112C1E9A-A776-4A05-A543-344869A7E4AC}" type="presParOf" srcId="{62270283-828F-4842-B9BF-3468470AA281}" destId="{F6E4D469-0DF8-4712-A146-DF554DDDD6A3}" srcOrd="1" destOrd="0" presId="urn:microsoft.com/office/officeart/2005/8/layout/list1"/>
    <dgm:cxn modelId="{15C7EBE1-F278-4921-A05A-60D3DC717629}" type="presParOf" srcId="{2879C3E4-EE62-416E-B940-258D600A8CEC}" destId="{5FC7E444-B9C2-4E5B-818D-BBFC4C62DAC7}" srcOrd="1" destOrd="0" presId="urn:microsoft.com/office/officeart/2005/8/layout/list1"/>
    <dgm:cxn modelId="{9C3D85F4-7307-49E1-A8E8-C69F191AC21F}" type="presParOf" srcId="{2879C3E4-EE62-416E-B940-258D600A8CEC}" destId="{3B97C360-583C-4042-92A2-C12940117C98}" srcOrd="2" destOrd="0" presId="urn:microsoft.com/office/officeart/2005/8/layout/list1"/>
    <dgm:cxn modelId="{5AB3A19C-596E-4414-9566-828AFEA2CA6E}" type="presParOf" srcId="{2879C3E4-EE62-416E-B940-258D600A8CEC}" destId="{EFBEB502-4F49-4523-AFEA-7175A8ED3A36}" srcOrd="3" destOrd="0" presId="urn:microsoft.com/office/officeart/2005/8/layout/list1"/>
    <dgm:cxn modelId="{76201330-E424-4E8E-9162-A60F078849AB}" type="presParOf" srcId="{2879C3E4-EE62-416E-B940-258D600A8CEC}" destId="{F8C7EDF1-FFDB-43C0-AFEB-5C03C6E7937B}" srcOrd="4" destOrd="0" presId="urn:microsoft.com/office/officeart/2005/8/layout/list1"/>
    <dgm:cxn modelId="{3D938662-97AA-41C6-B1F2-D70769DF8A41}" type="presParOf" srcId="{F8C7EDF1-FFDB-43C0-AFEB-5C03C6E7937B}" destId="{FD1C3D4B-559F-4CF6-A90E-A418294559DB}" srcOrd="0" destOrd="0" presId="urn:microsoft.com/office/officeart/2005/8/layout/list1"/>
    <dgm:cxn modelId="{01B10958-9F6B-4562-AEBC-73EFF48F50F7}" type="presParOf" srcId="{F8C7EDF1-FFDB-43C0-AFEB-5C03C6E7937B}" destId="{9D2AD4F4-6A62-4376-9735-4A2C5811E823}" srcOrd="1" destOrd="0" presId="urn:microsoft.com/office/officeart/2005/8/layout/list1"/>
    <dgm:cxn modelId="{A4BB45E0-EDF1-4766-8D6D-42D54C2DDC2D}" type="presParOf" srcId="{2879C3E4-EE62-416E-B940-258D600A8CEC}" destId="{43D20F02-A786-40A8-A434-F3525C1BC533}" srcOrd="5" destOrd="0" presId="urn:microsoft.com/office/officeart/2005/8/layout/list1"/>
    <dgm:cxn modelId="{976D72C2-9F66-4DE4-9466-D9CA251B5C54}" type="presParOf" srcId="{2879C3E4-EE62-416E-B940-258D600A8CEC}" destId="{7017F526-1DA0-4D1F-A05B-3283388207E8}"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B726AAAE-1FAB-4784-854C-E35043BD3315}" type="doc">
      <dgm:prSet loTypeId="urn:microsoft.com/office/officeart/2005/8/layout/venn1" loCatId="relationship" qsTypeId="urn:microsoft.com/office/officeart/2005/8/quickstyle/simple1" qsCatId="simple" csTypeId="urn:microsoft.com/office/officeart/2005/8/colors/accent1_2" csCatId="accent1"/>
      <dgm:spPr/>
      <dgm:t>
        <a:bodyPr/>
        <a:lstStyle/>
        <a:p>
          <a:endParaRPr lang="en-US"/>
        </a:p>
      </dgm:t>
    </dgm:pt>
    <dgm:pt modelId="{479D962E-9593-4E88-8B84-76BA81E19AEA}">
      <dgm:prSet/>
      <dgm:spPr/>
      <dgm:t>
        <a:bodyPr/>
        <a:lstStyle/>
        <a:p>
          <a:r>
            <a:rPr lang="en-US"/>
            <a:t>Monitoring and Troubleshooting Azure SQL Database</a:t>
          </a:r>
        </a:p>
      </dgm:t>
    </dgm:pt>
    <dgm:pt modelId="{A2735129-2F73-4D60-8B1E-04995D417A20}" type="parTrans" cxnId="{C2FBE149-C03C-4791-8E3D-52288126A733}">
      <dgm:prSet/>
      <dgm:spPr/>
      <dgm:t>
        <a:bodyPr/>
        <a:lstStyle/>
        <a:p>
          <a:endParaRPr lang="en-US"/>
        </a:p>
      </dgm:t>
    </dgm:pt>
    <dgm:pt modelId="{02C8BF67-EC4F-4DD6-BE4E-BC710C469B29}" type="sibTrans" cxnId="{C2FBE149-C03C-4791-8E3D-52288126A733}">
      <dgm:prSet/>
      <dgm:spPr/>
      <dgm:t>
        <a:bodyPr/>
        <a:lstStyle/>
        <a:p>
          <a:endParaRPr lang="en-US"/>
        </a:p>
      </dgm:t>
    </dgm:pt>
    <dgm:pt modelId="{A929665E-FC58-42BA-9CAD-00FFE5D64DA8}">
      <dgm:prSet/>
      <dgm:spPr/>
      <dgm:t>
        <a:bodyPr/>
        <a:lstStyle/>
        <a:p>
          <a:r>
            <a:rPr lang="en-US"/>
            <a:t>Monitoring Query Performance using Query Performance Insight</a:t>
          </a:r>
        </a:p>
      </dgm:t>
    </dgm:pt>
    <dgm:pt modelId="{67106782-5B97-4057-9A1A-FDED3E1E2309}" type="parTrans" cxnId="{CA33CE15-EF15-4AEA-A61C-348BC94118CF}">
      <dgm:prSet/>
      <dgm:spPr/>
      <dgm:t>
        <a:bodyPr/>
        <a:lstStyle/>
        <a:p>
          <a:endParaRPr lang="en-US"/>
        </a:p>
      </dgm:t>
    </dgm:pt>
    <dgm:pt modelId="{B150C22C-7D9D-41F7-A0A6-8260EB2F7EA7}" type="sibTrans" cxnId="{CA33CE15-EF15-4AEA-A61C-348BC94118CF}">
      <dgm:prSet/>
      <dgm:spPr/>
      <dgm:t>
        <a:bodyPr/>
        <a:lstStyle/>
        <a:p>
          <a:endParaRPr lang="en-US"/>
        </a:p>
      </dgm:t>
    </dgm:pt>
    <dgm:pt modelId="{B1B21451-8B0E-4E93-9B47-A5A7854D1FD2}">
      <dgm:prSet/>
      <dgm:spPr/>
      <dgm:t>
        <a:bodyPr/>
        <a:lstStyle/>
        <a:p>
          <a:r>
            <a:rPr lang="en-US"/>
            <a:t>Azure SQL Database Tuning using Automatic Tuning</a:t>
          </a:r>
        </a:p>
      </dgm:t>
    </dgm:pt>
    <dgm:pt modelId="{B858E1CF-7D85-4A91-98B7-2456070DC335}" type="parTrans" cxnId="{A01FFA90-AA3B-47E5-910F-798CD8E0068D}">
      <dgm:prSet/>
      <dgm:spPr/>
      <dgm:t>
        <a:bodyPr/>
        <a:lstStyle/>
        <a:p>
          <a:endParaRPr lang="en-US"/>
        </a:p>
      </dgm:t>
    </dgm:pt>
    <dgm:pt modelId="{765DC0E4-44A9-4B2B-9A8E-36F1E15E9E72}" type="sibTrans" cxnId="{A01FFA90-AA3B-47E5-910F-798CD8E0068D}">
      <dgm:prSet/>
      <dgm:spPr/>
      <dgm:t>
        <a:bodyPr/>
        <a:lstStyle/>
        <a:p>
          <a:endParaRPr lang="en-US"/>
        </a:p>
      </dgm:t>
    </dgm:pt>
    <dgm:pt modelId="{AD170859-91E9-47C9-B709-C46E1666F7BA}">
      <dgm:prSet/>
      <dgm:spPr/>
      <dgm:t>
        <a:bodyPr/>
        <a:lstStyle/>
        <a:p>
          <a:r>
            <a:rPr lang="en-US"/>
            <a:t>Monitoring Azure SQL Database Performance using Intelligent Insights</a:t>
          </a:r>
        </a:p>
      </dgm:t>
    </dgm:pt>
    <dgm:pt modelId="{66DF827A-7209-4344-B088-B02E582653C4}" type="parTrans" cxnId="{602200F6-6337-4A87-B37C-DB2D4EAD3E38}">
      <dgm:prSet/>
      <dgm:spPr/>
      <dgm:t>
        <a:bodyPr/>
        <a:lstStyle/>
        <a:p>
          <a:endParaRPr lang="en-US"/>
        </a:p>
      </dgm:t>
    </dgm:pt>
    <dgm:pt modelId="{49339D60-AF34-4792-89C8-959CCA7B3F42}" type="sibTrans" cxnId="{602200F6-6337-4A87-B37C-DB2D4EAD3E38}">
      <dgm:prSet/>
      <dgm:spPr/>
      <dgm:t>
        <a:bodyPr/>
        <a:lstStyle/>
        <a:p>
          <a:endParaRPr lang="en-US"/>
        </a:p>
      </dgm:t>
    </dgm:pt>
    <dgm:pt modelId="{2C7D26C4-20AA-4B88-B615-9A22A6A5E119}">
      <dgm:prSet/>
      <dgm:spPr/>
      <dgm:t>
        <a:bodyPr/>
        <a:lstStyle/>
        <a:p>
          <a:r>
            <a:rPr lang="en-US"/>
            <a:t>Monitoring Azure SQL Database Performance using Extended Events</a:t>
          </a:r>
        </a:p>
      </dgm:t>
    </dgm:pt>
    <dgm:pt modelId="{E6A4239A-98EC-49ED-A21C-F088A4D0D6B5}" type="parTrans" cxnId="{E0959482-1FC0-4540-A6DA-5B58DD24001D}">
      <dgm:prSet/>
      <dgm:spPr/>
      <dgm:t>
        <a:bodyPr/>
        <a:lstStyle/>
        <a:p>
          <a:endParaRPr lang="en-US"/>
        </a:p>
      </dgm:t>
    </dgm:pt>
    <dgm:pt modelId="{B54ACCC3-F999-43F5-8583-098EE84C8A26}" type="sibTrans" cxnId="{E0959482-1FC0-4540-A6DA-5B58DD24001D}">
      <dgm:prSet/>
      <dgm:spPr/>
      <dgm:t>
        <a:bodyPr/>
        <a:lstStyle/>
        <a:p>
          <a:endParaRPr lang="en-US"/>
        </a:p>
      </dgm:t>
    </dgm:pt>
    <dgm:pt modelId="{335AF072-C440-417C-8880-F82B6294FFDB}">
      <dgm:prSet/>
      <dgm:spPr/>
      <dgm:t>
        <a:bodyPr/>
        <a:lstStyle/>
        <a:p>
          <a:r>
            <a:rPr lang="en-US"/>
            <a:t>Configure Alerts through Azure Portal</a:t>
          </a:r>
        </a:p>
      </dgm:t>
    </dgm:pt>
    <dgm:pt modelId="{09918838-8A66-4C68-958F-0F3774D53075}" type="parTrans" cxnId="{2F6DBA56-E8FE-47A7-823F-0F652FE190EB}">
      <dgm:prSet/>
      <dgm:spPr/>
      <dgm:t>
        <a:bodyPr/>
        <a:lstStyle/>
        <a:p>
          <a:endParaRPr lang="en-US"/>
        </a:p>
      </dgm:t>
    </dgm:pt>
    <dgm:pt modelId="{E2684277-93B0-4CC4-91F9-63C3D3D921E3}" type="sibTrans" cxnId="{2F6DBA56-E8FE-47A7-823F-0F652FE190EB}">
      <dgm:prSet/>
      <dgm:spPr/>
      <dgm:t>
        <a:bodyPr/>
        <a:lstStyle/>
        <a:p>
          <a:endParaRPr lang="en-US"/>
        </a:p>
      </dgm:t>
    </dgm:pt>
    <dgm:pt modelId="{64AE8CA4-2048-4F7E-83D8-4775BD1FE5CC}" type="pres">
      <dgm:prSet presAssocID="{B726AAAE-1FAB-4784-854C-E35043BD3315}" presName="compositeShape" presStyleCnt="0">
        <dgm:presLayoutVars>
          <dgm:chMax val="7"/>
          <dgm:dir/>
          <dgm:resizeHandles val="exact"/>
        </dgm:presLayoutVars>
      </dgm:prSet>
      <dgm:spPr/>
    </dgm:pt>
    <dgm:pt modelId="{E53BE276-B91A-4C51-8589-6CAE21C9601A}" type="pres">
      <dgm:prSet presAssocID="{479D962E-9593-4E88-8B84-76BA81E19AEA}" presName="circ1" presStyleLbl="vennNode1" presStyleIdx="0" presStyleCnt="6"/>
      <dgm:spPr/>
    </dgm:pt>
    <dgm:pt modelId="{03DDC303-4182-4306-A3EF-D7E00DA8EF92}" type="pres">
      <dgm:prSet presAssocID="{479D962E-9593-4E88-8B84-76BA81E19AEA}" presName="circ1Tx" presStyleLbl="revTx" presStyleIdx="0" presStyleCnt="0">
        <dgm:presLayoutVars>
          <dgm:chMax val="0"/>
          <dgm:chPref val="0"/>
          <dgm:bulletEnabled val="1"/>
        </dgm:presLayoutVars>
      </dgm:prSet>
      <dgm:spPr/>
    </dgm:pt>
    <dgm:pt modelId="{CF621D9E-8C34-4A5E-B041-D34C3454FAE7}" type="pres">
      <dgm:prSet presAssocID="{A929665E-FC58-42BA-9CAD-00FFE5D64DA8}" presName="circ2" presStyleLbl="vennNode1" presStyleIdx="1" presStyleCnt="6"/>
      <dgm:spPr/>
    </dgm:pt>
    <dgm:pt modelId="{4EB2D1A4-58CB-4985-9EA6-58AE058D319E}" type="pres">
      <dgm:prSet presAssocID="{A929665E-FC58-42BA-9CAD-00FFE5D64DA8}" presName="circ2Tx" presStyleLbl="revTx" presStyleIdx="0" presStyleCnt="0">
        <dgm:presLayoutVars>
          <dgm:chMax val="0"/>
          <dgm:chPref val="0"/>
          <dgm:bulletEnabled val="1"/>
        </dgm:presLayoutVars>
      </dgm:prSet>
      <dgm:spPr/>
    </dgm:pt>
    <dgm:pt modelId="{40451575-A7A2-485B-BC10-950666B9FB31}" type="pres">
      <dgm:prSet presAssocID="{B1B21451-8B0E-4E93-9B47-A5A7854D1FD2}" presName="circ3" presStyleLbl="vennNode1" presStyleIdx="2" presStyleCnt="6"/>
      <dgm:spPr/>
    </dgm:pt>
    <dgm:pt modelId="{7118AB32-21CD-4B7B-800D-3784959FFBC8}" type="pres">
      <dgm:prSet presAssocID="{B1B21451-8B0E-4E93-9B47-A5A7854D1FD2}" presName="circ3Tx" presStyleLbl="revTx" presStyleIdx="0" presStyleCnt="0">
        <dgm:presLayoutVars>
          <dgm:chMax val="0"/>
          <dgm:chPref val="0"/>
          <dgm:bulletEnabled val="1"/>
        </dgm:presLayoutVars>
      </dgm:prSet>
      <dgm:spPr/>
    </dgm:pt>
    <dgm:pt modelId="{522A0192-1397-4831-831F-B8A7576A1987}" type="pres">
      <dgm:prSet presAssocID="{AD170859-91E9-47C9-B709-C46E1666F7BA}" presName="circ4" presStyleLbl="vennNode1" presStyleIdx="3" presStyleCnt="6"/>
      <dgm:spPr/>
    </dgm:pt>
    <dgm:pt modelId="{2A0E9313-DDC6-45A7-87D4-CC6666187909}" type="pres">
      <dgm:prSet presAssocID="{AD170859-91E9-47C9-B709-C46E1666F7BA}" presName="circ4Tx" presStyleLbl="revTx" presStyleIdx="0" presStyleCnt="0">
        <dgm:presLayoutVars>
          <dgm:chMax val="0"/>
          <dgm:chPref val="0"/>
          <dgm:bulletEnabled val="1"/>
        </dgm:presLayoutVars>
      </dgm:prSet>
      <dgm:spPr/>
    </dgm:pt>
    <dgm:pt modelId="{F3C28590-7777-4210-B16F-9186A45F4EC5}" type="pres">
      <dgm:prSet presAssocID="{2C7D26C4-20AA-4B88-B615-9A22A6A5E119}" presName="circ5" presStyleLbl="vennNode1" presStyleIdx="4" presStyleCnt="6"/>
      <dgm:spPr/>
    </dgm:pt>
    <dgm:pt modelId="{CB2ACEB2-C31B-4157-BF51-476A4C524A90}" type="pres">
      <dgm:prSet presAssocID="{2C7D26C4-20AA-4B88-B615-9A22A6A5E119}" presName="circ5Tx" presStyleLbl="revTx" presStyleIdx="0" presStyleCnt="0">
        <dgm:presLayoutVars>
          <dgm:chMax val="0"/>
          <dgm:chPref val="0"/>
          <dgm:bulletEnabled val="1"/>
        </dgm:presLayoutVars>
      </dgm:prSet>
      <dgm:spPr/>
    </dgm:pt>
    <dgm:pt modelId="{EA93CBF9-D949-4501-91D8-F06125584A53}" type="pres">
      <dgm:prSet presAssocID="{335AF072-C440-417C-8880-F82B6294FFDB}" presName="circ6" presStyleLbl="vennNode1" presStyleIdx="5" presStyleCnt="6"/>
      <dgm:spPr/>
    </dgm:pt>
    <dgm:pt modelId="{E7956753-0D1D-401E-AA87-8ED57DB061A7}" type="pres">
      <dgm:prSet presAssocID="{335AF072-C440-417C-8880-F82B6294FFDB}" presName="circ6Tx" presStyleLbl="revTx" presStyleIdx="0" presStyleCnt="0">
        <dgm:presLayoutVars>
          <dgm:chMax val="0"/>
          <dgm:chPref val="0"/>
          <dgm:bulletEnabled val="1"/>
        </dgm:presLayoutVars>
      </dgm:prSet>
      <dgm:spPr/>
    </dgm:pt>
  </dgm:ptLst>
  <dgm:cxnLst>
    <dgm:cxn modelId="{CA33CE15-EF15-4AEA-A61C-348BC94118CF}" srcId="{B726AAAE-1FAB-4784-854C-E35043BD3315}" destId="{A929665E-FC58-42BA-9CAD-00FFE5D64DA8}" srcOrd="1" destOrd="0" parTransId="{67106782-5B97-4057-9A1A-FDED3E1E2309}" sibTransId="{B150C22C-7D9D-41F7-A0A6-8260EB2F7EA7}"/>
    <dgm:cxn modelId="{54C98122-A682-4F76-9ED6-4C26AFE9EC7B}" type="presOf" srcId="{B726AAAE-1FAB-4784-854C-E35043BD3315}" destId="{64AE8CA4-2048-4F7E-83D8-4775BD1FE5CC}" srcOrd="0" destOrd="0" presId="urn:microsoft.com/office/officeart/2005/8/layout/venn1"/>
    <dgm:cxn modelId="{C59DCD2A-3B46-4174-8B94-43DCBB2C0C75}" type="presOf" srcId="{335AF072-C440-417C-8880-F82B6294FFDB}" destId="{E7956753-0D1D-401E-AA87-8ED57DB061A7}" srcOrd="0" destOrd="0" presId="urn:microsoft.com/office/officeart/2005/8/layout/venn1"/>
    <dgm:cxn modelId="{C2FBE149-C03C-4791-8E3D-52288126A733}" srcId="{B726AAAE-1FAB-4784-854C-E35043BD3315}" destId="{479D962E-9593-4E88-8B84-76BA81E19AEA}" srcOrd="0" destOrd="0" parTransId="{A2735129-2F73-4D60-8B1E-04995D417A20}" sibTransId="{02C8BF67-EC4F-4DD6-BE4E-BC710C469B29}"/>
    <dgm:cxn modelId="{EEEF3552-48BD-400B-B470-2BC8696F0404}" type="presOf" srcId="{479D962E-9593-4E88-8B84-76BA81E19AEA}" destId="{03DDC303-4182-4306-A3EF-D7E00DA8EF92}" srcOrd="0" destOrd="0" presId="urn:microsoft.com/office/officeart/2005/8/layout/venn1"/>
    <dgm:cxn modelId="{2F6DBA56-E8FE-47A7-823F-0F652FE190EB}" srcId="{B726AAAE-1FAB-4784-854C-E35043BD3315}" destId="{335AF072-C440-417C-8880-F82B6294FFDB}" srcOrd="5" destOrd="0" parTransId="{09918838-8A66-4C68-958F-0F3774D53075}" sibTransId="{E2684277-93B0-4CC4-91F9-63C3D3D921E3}"/>
    <dgm:cxn modelId="{E0959482-1FC0-4540-A6DA-5B58DD24001D}" srcId="{B726AAAE-1FAB-4784-854C-E35043BD3315}" destId="{2C7D26C4-20AA-4B88-B615-9A22A6A5E119}" srcOrd="4" destOrd="0" parTransId="{E6A4239A-98EC-49ED-A21C-F088A4D0D6B5}" sibTransId="{B54ACCC3-F999-43F5-8583-098EE84C8A26}"/>
    <dgm:cxn modelId="{9D578084-A2A9-4BBD-82AB-4A508A15905F}" type="presOf" srcId="{A929665E-FC58-42BA-9CAD-00FFE5D64DA8}" destId="{4EB2D1A4-58CB-4985-9EA6-58AE058D319E}" srcOrd="0" destOrd="0" presId="urn:microsoft.com/office/officeart/2005/8/layout/venn1"/>
    <dgm:cxn modelId="{A01FFA90-AA3B-47E5-910F-798CD8E0068D}" srcId="{B726AAAE-1FAB-4784-854C-E35043BD3315}" destId="{B1B21451-8B0E-4E93-9B47-A5A7854D1FD2}" srcOrd="2" destOrd="0" parTransId="{B858E1CF-7D85-4A91-98B7-2456070DC335}" sibTransId="{765DC0E4-44A9-4B2B-9A8E-36F1E15E9E72}"/>
    <dgm:cxn modelId="{0850B5A2-44C4-4D2F-BF03-592377C73CF4}" type="presOf" srcId="{AD170859-91E9-47C9-B709-C46E1666F7BA}" destId="{2A0E9313-DDC6-45A7-87D4-CC6666187909}" srcOrd="0" destOrd="0" presId="urn:microsoft.com/office/officeart/2005/8/layout/venn1"/>
    <dgm:cxn modelId="{AD634FD5-6D64-4619-B99D-D286E5E7C28A}" type="presOf" srcId="{2C7D26C4-20AA-4B88-B615-9A22A6A5E119}" destId="{CB2ACEB2-C31B-4157-BF51-476A4C524A90}" srcOrd="0" destOrd="0" presId="urn:microsoft.com/office/officeart/2005/8/layout/venn1"/>
    <dgm:cxn modelId="{602200F6-6337-4A87-B37C-DB2D4EAD3E38}" srcId="{B726AAAE-1FAB-4784-854C-E35043BD3315}" destId="{AD170859-91E9-47C9-B709-C46E1666F7BA}" srcOrd="3" destOrd="0" parTransId="{66DF827A-7209-4344-B088-B02E582653C4}" sibTransId="{49339D60-AF34-4792-89C8-959CCA7B3F42}"/>
    <dgm:cxn modelId="{5F9511F7-DFEA-4C34-9F6C-04B5C273147A}" type="presOf" srcId="{B1B21451-8B0E-4E93-9B47-A5A7854D1FD2}" destId="{7118AB32-21CD-4B7B-800D-3784959FFBC8}" srcOrd="0" destOrd="0" presId="urn:microsoft.com/office/officeart/2005/8/layout/venn1"/>
    <dgm:cxn modelId="{CA693DEE-7148-40BA-8C1D-503A5EB8D54E}" type="presParOf" srcId="{64AE8CA4-2048-4F7E-83D8-4775BD1FE5CC}" destId="{E53BE276-B91A-4C51-8589-6CAE21C9601A}" srcOrd="0" destOrd="0" presId="urn:microsoft.com/office/officeart/2005/8/layout/venn1"/>
    <dgm:cxn modelId="{12AFCAAC-4B1F-4ACB-89F9-C1406A4F17CC}" type="presParOf" srcId="{64AE8CA4-2048-4F7E-83D8-4775BD1FE5CC}" destId="{03DDC303-4182-4306-A3EF-D7E00DA8EF92}" srcOrd="1" destOrd="0" presId="urn:microsoft.com/office/officeart/2005/8/layout/venn1"/>
    <dgm:cxn modelId="{BBFD9491-912A-4BF1-A066-DF80E5EC151A}" type="presParOf" srcId="{64AE8CA4-2048-4F7E-83D8-4775BD1FE5CC}" destId="{CF621D9E-8C34-4A5E-B041-D34C3454FAE7}" srcOrd="2" destOrd="0" presId="urn:microsoft.com/office/officeart/2005/8/layout/venn1"/>
    <dgm:cxn modelId="{1AE05FF2-274D-4139-9DBF-78AED572FEEB}" type="presParOf" srcId="{64AE8CA4-2048-4F7E-83D8-4775BD1FE5CC}" destId="{4EB2D1A4-58CB-4985-9EA6-58AE058D319E}" srcOrd="3" destOrd="0" presId="urn:microsoft.com/office/officeart/2005/8/layout/venn1"/>
    <dgm:cxn modelId="{74DF2BAE-D33E-4780-A0B2-74C382800EEA}" type="presParOf" srcId="{64AE8CA4-2048-4F7E-83D8-4775BD1FE5CC}" destId="{40451575-A7A2-485B-BC10-950666B9FB31}" srcOrd="4" destOrd="0" presId="urn:microsoft.com/office/officeart/2005/8/layout/venn1"/>
    <dgm:cxn modelId="{18999897-2761-4A0E-B1D3-99E49A3328B0}" type="presParOf" srcId="{64AE8CA4-2048-4F7E-83D8-4775BD1FE5CC}" destId="{7118AB32-21CD-4B7B-800D-3784959FFBC8}" srcOrd="5" destOrd="0" presId="urn:microsoft.com/office/officeart/2005/8/layout/venn1"/>
    <dgm:cxn modelId="{E2C0897A-D52A-4390-A714-E0215005E6CA}" type="presParOf" srcId="{64AE8CA4-2048-4F7E-83D8-4775BD1FE5CC}" destId="{522A0192-1397-4831-831F-B8A7576A1987}" srcOrd="6" destOrd="0" presId="urn:microsoft.com/office/officeart/2005/8/layout/venn1"/>
    <dgm:cxn modelId="{98D56D1A-1FA4-4460-BB65-7521E2C94383}" type="presParOf" srcId="{64AE8CA4-2048-4F7E-83D8-4775BD1FE5CC}" destId="{2A0E9313-DDC6-45A7-87D4-CC6666187909}" srcOrd="7" destOrd="0" presId="urn:microsoft.com/office/officeart/2005/8/layout/venn1"/>
    <dgm:cxn modelId="{87274AA6-B76A-4C66-947B-6BEF2E7A013D}" type="presParOf" srcId="{64AE8CA4-2048-4F7E-83D8-4775BD1FE5CC}" destId="{F3C28590-7777-4210-B16F-9186A45F4EC5}" srcOrd="8" destOrd="0" presId="urn:microsoft.com/office/officeart/2005/8/layout/venn1"/>
    <dgm:cxn modelId="{D6BE750F-D092-409F-808B-9A087C2D1C44}" type="presParOf" srcId="{64AE8CA4-2048-4F7E-83D8-4775BD1FE5CC}" destId="{CB2ACEB2-C31B-4157-BF51-476A4C524A90}" srcOrd="9" destOrd="0" presId="urn:microsoft.com/office/officeart/2005/8/layout/venn1"/>
    <dgm:cxn modelId="{E85CB74D-B4BF-4344-AF8F-14E62AA9D14F}" type="presParOf" srcId="{64AE8CA4-2048-4F7E-83D8-4775BD1FE5CC}" destId="{EA93CBF9-D949-4501-91D8-F06125584A53}" srcOrd="10" destOrd="0" presId="urn:microsoft.com/office/officeart/2005/8/layout/venn1"/>
    <dgm:cxn modelId="{8E48D73C-1465-400D-9113-427C04129788}" type="presParOf" srcId="{64AE8CA4-2048-4F7E-83D8-4775BD1FE5CC}" destId="{E7956753-0D1D-401E-AA87-8ED57DB061A7}" srcOrd="11"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49A892C-A3A9-4896-A59C-28D406BD948C}" type="doc">
      <dgm:prSet loTypeId="urn:microsoft.com/office/officeart/2005/8/layout/hList1" loCatId="list" qsTypeId="urn:microsoft.com/office/officeart/2005/8/quickstyle/simple1" qsCatId="simple" csTypeId="urn:microsoft.com/office/officeart/2005/8/colors/accent1_2" csCatId="accent1"/>
      <dgm:spPr/>
      <dgm:t>
        <a:bodyPr/>
        <a:lstStyle/>
        <a:p>
          <a:endParaRPr lang="en-US"/>
        </a:p>
      </dgm:t>
    </dgm:pt>
    <dgm:pt modelId="{63CE6B90-3D92-4975-94D9-2937C2A1EA08}">
      <dgm:prSet/>
      <dgm:spPr/>
      <dgm:t>
        <a:bodyPr/>
        <a:lstStyle/>
        <a:p>
          <a:r>
            <a:rPr lang="en-GB" b="1"/>
            <a:t>Query Performance Insight</a:t>
          </a:r>
          <a:endParaRPr lang="en-US"/>
        </a:p>
      </dgm:t>
    </dgm:pt>
    <dgm:pt modelId="{4AF7EC84-84BE-4BD2-94E1-0C0C155F9665}" type="parTrans" cxnId="{9FBD51B3-1513-45AC-81F9-09168B54E3F3}">
      <dgm:prSet/>
      <dgm:spPr/>
      <dgm:t>
        <a:bodyPr/>
        <a:lstStyle/>
        <a:p>
          <a:endParaRPr lang="en-US"/>
        </a:p>
      </dgm:t>
    </dgm:pt>
    <dgm:pt modelId="{8741137C-5049-444D-9E1D-B9C26D035847}" type="sibTrans" cxnId="{9FBD51B3-1513-45AC-81F9-09168B54E3F3}">
      <dgm:prSet/>
      <dgm:spPr/>
      <dgm:t>
        <a:bodyPr/>
        <a:lstStyle/>
        <a:p>
          <a:endParaRPr lang="en-US"/>
        </a:p>
      </dgm:t>
    </dgm:pt>
    <dgm:pt modelId="{3BC0A050-8FCB-44FA-825E-75E1257C606C}">
      <dgm:prSet/>
      <dgm:spPr/>
      <dgm:t>
        <a:bodyPr/>
        <a:lstStyle/>
        <a:p>
          <a:r>
            <a:rPr lang="en-GB" dirty="0"/>
            <a:t>Shows top performance degrading queries by showing most resource consuming queries, long running queries and custom configuration.</a:t>
          </a:r>
          <a:endParaRPr lang="en-US" dirty="0"/>
        </a:p>
      </dgm:t>
    </dgm:pt>
    <dgm:pt modelId="{5F649681-695F-48D0-8879-45D3E5819599}" type="parTrans" cxnId="{B6D92341-372D-44F2-AAE4-E97E3B2F8D48}">
      <dgm:prSet/>
      <dgm:spPr/>
      <dgm:t>
        <a:bodyPr/>
        <a:lstStyle/>
        <a:p>
          <a:endParaRPr lang="en-US"/>
        </a:p>
      </dgm:t>
    </dgm:pt>
    <dgm:pt modelId="{9C2EE3E3-3E38-4A5F-93EF-2363B51941F9}" type="sibTrans" cxnId="{B6D92341-372D-44F2-AAE4-E97E3B2F8D48}">
      <dgm:prSet/>
      <dgm:spPr/>
      <dgm:t>
        <a:bodyPr/>
        <a:lstStyle/>
        <a:p>
          <a:endParaRPr lang="en-US"/>
        </a:p>
      </dgm:t>
    </dgm:pt>
    <dgm:pt modelId="{A43F95EF-7B1D-46D7-AD5F-ABED5FE760D4}">
      <dgm:prSet/>
      <dgm:spPr/>
      <dgm:t>
        <a:bodyPr/>
        <a:lstStyle/>
        <a:p>
          <a:r>
            <a:rPr lang="en-GB"/>
            <a:t>Can drill through the queries to see Query text, CPU, data IO and Log IO utilization %, Duration and Execution count.</a:t>
          </a:r>
          <a:endParaRPr lang="en-US"/>
        </a:p>
      </dgm:t>
    </dgm:pt>
    <dgm:pt modelId="{A041D93C-166D-4814-AF39-6E08D7073C44}" type="parTrans" cxnId="{42FDD21B-975D-44F3-ABA6-FA24AD6B52CB}">
      <dgm:prSet/>
      <dgm:spPr/>
      <dgm:t>
        <a:bodyPr/>
        <a:lstStyle/>
        <a:p>
          <a:endParaRPr lang="en-US"/>
        </a:p>
      </dgm:t>
    </dgm:pt>
    <dgm:pt modelId="{A31FB3FF-C452-4D87-A500-22BD5EFE5613}" type="sibTrans" cxnId="{42FDD21B-975D-44F3-ABA6-FA24AD6B52CB}">
      <dgm:prSet/>
      <dgm:spPr/>
      <dgm:t>
        <a:bodyPr/>
        <a:lstStyle/>
        <a:p>
          <a:endParaRPr lang="en-US"/>
        </a:p>
      </dgm:t>
    </dgm:pt>
    <dgm:pt modelId="{E276A3D7-B63F-4B50-B0BC-0189614546EC}" type="pres">
      <dgm:prSet presAssocID="{749A892C-A3A9-4896-A59C-28D406BD948C}" presName="Name0" presStyleCnt="0">
        <dgm:presLayoutVars>
          <dgm:dir/>
          <dgm:animLvl val="lvl"/>
          <dgm:resizeHandles val="exact"/>
        </dgm:presLayoutVars>
      </dgm:prSet>
      <dgm:spPr/>
    </dgm:pt>
    <dgm:pt modelId="{1AFF3C4D-1919-474F-A9FD-B82F7CDD7B63}" type="pres">
      <dgm:prSet presAssocID="{63CE6B90-3D92-4975-94D9-2937C2A1EA08}" presName="composite" presStyleCnt="0"/>
      <dgm:spPr/>
    </dgm:pt>
    <dgm:pt modelId="{D9413363-4A44-498B-ADBF-BEBA43F0769C}" type="pres">
      <dgm:prSet presAssocID="{63CE6B90-3D92-4975-94D9-2937C2A1EA08}" presName="parTx" presStyleLbl="alignNode1" presStyleIdx="0" presStyleCnt="1">
        <dgm:presLayoutVars>
          <dgm:chMax val="0"/>
          <dgm:chPref val="0"/>
          <dgm:bulletEnabled val="1"/>
        </dgm:presLayoutVars>
      </dgm:prSet>
      <dgm:spPr/>
    </dgm:pt>
    <dgm:pt modelId="{1E31AB1D-0A0E-4EA3-AB60-FFFFEFEDB237}" type="pres">
      <dgm:prSet presAssocID="{63CE6B90-3D92-4975-94D9-2937C2A1EA08}" presName="desTx" presStyleLbl="alignAccFollowNode1" presStyleIdx="0" presStyleCnt="1">
        <dgm:presLayoutVars>
          <dgm:bulletEnabled val="1"/>
        </dgm:presLayoutVars>
      </dgm:prSet>
      <dgm:spPr/>
    </dgm:pt>
  </dgm:ptLst>
  <dgm:cxnLst>
    <dgm:cxn modelId="{42FDD21B-975D-44F3-ABA6-FA24AD6B52CB}" srcId="{63CE6B90-3D92-4975-94D9-2937C2A1EA08}" destId="{A43F95EF-7B1D-46D7-AD5F-ABED5FE760D4}" srcOrd="1" destOrd="0" parTransId="{A041D93C-166D-4814-AF39-6E08D7073C44}" sibTransId="{A31FB3FF-C452-4D87-A500-22BD5EFE5613}"/>
    <dgm:cxn modelId="{B31FAD3B-179D-4463-AD83-E24475AC49FD}" type="presOf" srcId="{3BC0A050-8FCB-44FA-825E-75E1257C606C}" destId="{1E31AB1D-0A0E-4EA3-AB60-FFFFEFEDB237}" srcOrd="0" destOrd="0" presId="urn:microsoft.com/office/officeart/2005/8/layout/hList1"/>
    <dgm:cxn modelId="{B6D92341-372D-44F2-AAE4-E97E3B2F8D48}" srcId="{63CE6B90-3D92-4975-94D9-2937C2A1EA08}" destId="{3BC0A050-8FCB-44FA-825E-75E1257C606C}" srcOrd="0" destOrd="0" parTransId="{5F649681-695F-48D0-8879-45D3E5819599}" sibTransId="{9C2EE3E3-3E38-4A5F-93EF-2363B51941F9}"/>
    <dgm:cxn modelId="{04BAB268-6A78-4C38-840C-83DDB81D0251}" type="presOf" srcId="{63CE6B90-3D92-4975-94D9-2937C2A1EA08}" destId="{D9413363-4A44-498B-ADBF-BEBA43F0769C}" srcOrd="0" destOrd="0" presId="urn:microsoft.com/office/officeart/2005/8/layout/hList1"/>
    <dgm:cxn modelId="{36D30059-61D0-4FBB-8628-0BA65A1344C5}" type="presOf" srcId="{A43F95EF-7B1D-46D7-AD5F-ABED5FE760D4}" destId="{1E31AB1D-0A0E-4EA3-AB60-FFFFEFEDB237}" srcOrd="0" destOrd="1" presId="urn:microsoft.com/office/officeart/2005/8/layout/hList1"/>
    <dgm:cxn modelId="{9FBD51B3-1513-45AC-81F9-09168B54E3F3}" srcId="{749A892C-A3A9-4896-A59C-28D406BD948C}" destId="{63CE6B90-3D92-4975-94D9-2937C2A1EA08}" srcOrd="0" destOrd="0" parTransId="{4AF7EC84-84BE-4BD2-94E1-0C0C155F9665}" sibTransId="{8741137C-5049-444D-9E1D-B9C26D035847}"/>
    <dgm:cxn modelId="{078766C4-CAD7-4240-81D0-ED66D9108A1E}" type="presOf" srcId="{749A892C-A3A9-4896-A59C-28D406BD948C}" destId="{E276A3D7-B63F-4B50-B0BC-0189614546EC}" srcOrd="0" destOrd="0" presId="urn:microsoft.com/office/officeart/2005/8/layout/hList1"/>
    <dgm:cxn modelId="{4B6049E8-70B4-4600-A639-6AA25BD8A57B}" type="presParOf" srcId="{E276A3D7-B63F-4B50-B0BC-0189614546EC}" destId="{1AFF3C4D-1919-474F-A9FD-B82F7CDD7B63}" srcOrd="0" destOrd="0" presId="urn:microsoft.com/office/officeart/2005/8/layout/hList1"/>
    <dgm:cxn modelId="{D9B8D6AD-FF30-49D2-892B-38BD9DB838AE}" type="presParOf" srcId="{1AFF3C4D-1919-474F-A9FD-B82F7CDD7B63}" destId="{D9413363-4A44-498B-ADBF-BEBA43F0769C}" srcOrd="0" destOrd="0" presId="urn:microsoft.com/office/officeart/2005/8/layout/hList1"/>
    <dgm:cxn modelId="{9305684A-DDB4-4D60-97D9-89E98E011458}" type="presParOf" srcId="{1AFF3C4D-1919-474F-A9FD-B82F7CDD7B63}" destId="{1E31AB1D-0A0E-4EA3-AB60-FFFFEFEDB23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0D8A238-421F-4656-B130-6B36F46ACFBA}"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D42998FA-7EA6-4F37-9F88-D0BB9A5DD642}">
      <dgm:prSet/>
      <dgm:spPr/>
      <dgm:t>
        <a:bodyPr/>
        <a:lstStyle/>
        <a:p>
          <a:r>
            <a:rPr lang="en-GB" b="1" dirty="0"/>
            <a:t>Custom options – Insights based upon custom selection: </a:t>
          </a:r>
          <a:endParaRPr lang="en-US" dirty="0"/>
        </a:p>
      </dgm:t>
    </dgm:pt>
    <dgm:pt modelId="{209A8403-A9A5-427A-974D-FB5B6AA98257}" type="parTrans" cxnId="{224640CC-2C11-4993-A6C8-C32C6B7D6372}">
      <dgm:prSet/>
      <dgm:spPr/>
      <dgm:t>
        <a:bodyPr/>
        <a:lstStyle/>
        <a:p>
          <a:endParaRPr lang="en-US"/>
        </a:p>
      </dgm:t>
    </dgm:pt>
    <dgm:pt modelId="{C4886027-B0CD-4693-AD1E-5EFF83F501FC}" type="sibTrans" cxnId="{224640CC-2C11-4993-A6C8-C32C6B7D6372}">
      <dgm:prSet/>
      <dgm:spPr/>
      <dgm:t>
        <a:bodyPr/>
        <a:lstStyle/>
        <a:p>
          <a:endParaRPr lang="en-US"/>
        </a:p>
      </dgm:t>
    </dgm:pt>
    <dgm:pt modelId="{F74FD83C-9677-4547-AC0E-2DA714AF1F41}">
      <dgm:prSet/>
      <dgm:spPr/>
      <dgm:t>
        <a:bodyPr/>
        <a:lstStyle/>
        <a:p>
          <a:r>
            <a:rPr lang="en-GB" b="1" dirty="0"/>
            <a:t>Metric Type</a:t>
          </a:r>
          <a:r>
            <a:rPr lang="en-GB" dirty="0"/>
            <a:t> – CPU , Data IO, Log IO, Duration and Execution Count.</a:t>
          </a:r>
          <a:endParaRPr lang="en-US" dirty="0"/>
        </a:p>
      </dgm:t>
    </dgm:pt>
    <dgm:pt modelId="{7BABA7BB-32E8-43F5-BBA0-16C26E689A66}" type="parTrans" cxnId="{67B6F0FE-5D97-4B7C-9472-E70BE6E030AF}">
      <dgm:prSet/>
      <dgm:spPr/>
      <dgm:t>
        <a:bodyPr/>
        <a:lstStyle/>
        <a:p>
          <a:endParaRPr lang="en-US"/>
        </a:p>
      </dgm:t>
    </dgm:pt>
    <dgm:pt modelId="{57264AC3-AA4A-43A0-B678-368207CAD6E0}" type="sibTrans" cxnId="{67B6F0FE-5D97-4B7C-9472-E70BE6E030AF}">
      <dgm:prSet/>
      <dgm:spPr/>
      <dgm:t>
        <a:bodyPr/>
        <a:lstStyle/>
        <a:p>
          <a:endParaRPr lang="en-US"/>
        </a:p>
      </dgm:t>
    </dgm:pt>
    <dgm:pt modelId="{31A107C8-EDE4-4FFD-8209-47FC3666FA41}">
      <dgm:prSet/>
      <dgm:spPr/>
      <dgm:t>
        <a:bodyPr/>
        <a:lstStyle/>
        <a:p>
          <a:r>
            <a:rPr lang="en-GB" b="1"/>
            <a:t>Time Period</a:t>
          </a:r>
          <a:r>
            <a:rPr lang="en-GB"/>
            <a:t> – Last 6 hrs, Last 24 hrs, Past Week, Past Month and Custom.</a:t>
          </a:r>
          <a:endParaRPr lang="en-US"/>
        </a:p>
      </dgm:t>
    </dgm:pt>
    <dgm:pt modelId="{C0D3EE30-BB7E-49F3-8067-95C7A3D845E7}" type="parTrans" cxnId="{40E07743-FCDF-40A8-B742-24812CE591D8}">
      <dgm:prSet/>
      <dgm:spPr/>
      <dgm:t>
        <a:bodyPr/>
        <a:lstStyle/>
        <a:p>
          <a:endParaRPr lang="en-US"/>
        </a:p>
      </dgm:t>
    </dgm:pt>
    <dgm:pt modelId="{2B19771F-4D25-476C-86EF-D33E0C4D1ECE}" type="sibTrans" cxnId="{40E07743-FCDF-40A8-B742-24812CE591D8}">
      <dgm:prSet/>
      <dgm:spPr/>
      <dgm:t>
        <a:bodyPr/>
        <a:lstStyle/>
        <a:p>
          <a:endParaRPr lang="en-US"/>
        </a:p>
      </dgm:t>
    </dgm:pt>
    <dgm:pt modelId="{8F85E3FD-1CCE-4001-8C5C-180A2B5922CA}">
      <dgm:prSet/>
      <dgm:spPr/>
      <dgm:t>
        <a:bodyPr/>
        <a:lstStyle/>
        <a:p>
          <a:r>
            <a:rPr lang="en-GB" b="1"/>
            <a:t>Number of Queries</a:t>
          </a:r>
          <a:r>
            <a:rPr lang="en-GB"/>
            <a:t> – 5, 10, 20.</a:t>
          </a:r>
          <a:endParaRPr lang="en-US"/>
        </a:p>
      </dgm:t>
    </dgm:pt>
    <dgm:pt modelId="{068DA2CC-2466-4648-8138-BCC658DED4EF}" type="parTrans" cxnId="{B1C5E9BE-BAC8-4B8F-9A16-E8B61B76D606}">
      <dgm:prSet/>
      <dgm:spPr/>
      <dgm:t>
        <a:bodyPr/>
        <a:lstStyle/>
        <a:p>
          <a:endParaRPr lang="en-US"/>
        </a:p>
      </dgm:t>
    </dgm:pt>
    <dgm:pt modelId="{915752A9-F1F7-4AF0-8300-F9F529BC9229}" type="sibTrans" cxnId="{B1C5E9BE-BAC8-4B8F-9A16-E8B61B76D606}">
      <dgm:prSet/>
      <dgm:spPr/>
      <dgm:t>
        <a:bodyPr/>
        <a:lstStyle/>
        <a:p>
          <a:endParaRPr lang="en-US"/>
        </a:p>
      </dgm:t>
    </dgm:pt>
    <dgm:pt modelId="{A80BE00A-49ED-4A58-886A-BBF9EB0EEE5C}">
      <dgm:prSet/>
      <dgm:spPr/>
      <dgm:t>
        <a:bodyPr/>
        <a:lstStyle/>
        <a:p>
          <a:r>
            <a:rPr lang="en-GB" b="1"/>
            <a:t>Aggregation type</a:t>
          </a:r>
          <a:r>
            <a:rPr lang="en-GB"/>
            <a:t> – sum, max and avg.</a:t>
          </a:r>
          <a:endParaRPr lang="en-US"/>
        </a:p>
      </dgm:t>
    </dgm:pt>
    <dgm:pt modelId="{BD50CF0B-E84C-4CAA-B350-256847334EE4}" type="parTrans" cxnId="{25D973D0-3741-4D4B-B9F9-7B019C55A86C}">
      <dgm:prSet/>
      <dgm:spPr/>
      <dgm:t>
        <a:bodyPr/>
        <a:lstStyle/>
        <a:p>
          <a:endParaRPr lang="en-US"/>
        </a:p>
      </dgm:t>
    </dgm:pt>
    <dgm:pt modelId="{04AD9169-6456-4E86-A053-FB830B49A595}" type="sibTrans" cxnId="{25D973D0-3741-4D4B-B9F9-7B019C55A86C}">
      <dgm:prSet/>
      <dgm:spPr/>
      <dgm:t>
        <a:bodyPr/>
        <a:lstStyle/>
        <a:p>
          <a:endParaRPr lang="en-US"/>
        </a:p>
      </dgm:t>
    </dgm:pt>
    <dgm:pt modelId="{DC0A16D1-174B-4CE5-881F-F65F35C6F47C}" type="pres">
      <dgm:prSet presAssocID="{80D8A238-421F-4656-B130-6B36F46ACFBA}" presName="linear" presStyleCnt="0">
        <dgm:presLayoutVars>
          <dgm:animLvl val="lvl"/>
          <dgm:resizeHandles val="exact"/>
        </dgm:presLayoutVars>
      </dgm:prSet>
      <dgm:spPr/>
    </dgm:pt>
    <dgm:pt modelId="{72781041-4575-4982-8D38-B265DE3598A8}" type="pres">
      <dgm:prSet presAssocID="{D42998FA-7EA6-4F37-9F88-D0BB9A5DD642}" presName="parentText" presStyleLbl="node1" presStyleIdx="0" presStyleCnt="1">
        <dgm:presLayoutVars>
          <dgm:chMax val="0"/>
          <dgm:bulletEnabled val="1"/>
        </dgm:presLayoutVars>
      </dgm:prSet>
      <dgm:spPr/>
    </dgm:pt>
    <dgm:pt modelId="{94D23C4D-2C84-4493-8EA9-05A7DAD1F3A9}" type="pres">
      <dgm:prSet presAssocID="{D42998FA-7EA6-4F37-9F88-D0BB9A5DD642}" presName="childText" presStyleLbl="revTx" presStyleIdx="0" presStyleCnt="1">
        <dgm:presLayoutVars>
          <dgm:bulletEnabled val="1"/>
        </dgm:presLayoutVars>
      </dgm:prSet>
      <dgm:spPr/>
    </dgm:pt>
  </dgm:ptLst>
  <dgm:cxnLst>
    <dgm:cxn modelId="{40E07743-FCDF-40A8-B742-24812CE591D8}" srcId="{D42998FA-7EA6-4F37-9F88-D0BB9A5DD642}" destId="{31A107C8-EDE4-4FFD-8209-47FC3666FA41}" srcOrd="1" destOrd="0" parTransId="{C0D3EE30-BB7E-49F3-8067-95C7A3D845E7}" sibTransId="{2B19771F-4D25-476C-86EF-D33E0C4D1ECE}"/>
    <dgm:cxn modelId="{EABA174A-09F6-4A5A-9D34-803865363B4A}" type="presOf" srcId="{A80BE00A-49ED-4A58-886A-BBF9EB0EEE5C}" destId="{94D23C4D-2C84-4493-8EA9-05A7DAD1F3A9}" srcOrd="0" destOrd="3" presId="urn:microsoft.com/office/officeart/2005/8/layout/vList2"/>
    <dgm:cxn modelId="{29469881-E124-41BF-80D8-E00FAE9BA8B8}" type="presOf" srcId="{D42998FA-7EA6-4F37-9F88-D0BB9A5DD642}" destId="{72781041-4575-4982-8D38-B265DE3598A8}" srcOrd="0" destOrd="0" presId="urn:microsoft.com/office/officeart/2005/8/layout/vList2"/>
    <dgm:cxn modelId="{05A50D8D-0E63-474F-BCBA-58ACB0245064}" type="presOf" srcId="{31A107C8-EDE4-4FFD-8209-47FC3666FA41}" destId="{94D23C4D-2C84-4493-8EA9-05A7DAD1F3A9}" srcOrd="0" destOrd="1" presId="urn:microsoft.com/office/officeart/2005/8/layout/vList2"/>
    <dgm:cxn modelId="{88CE77AF-D18E-4E8C-B141-6437CC5C9032}" type="presOf" srcId="{8F85E3FD-1CCE-4001-8C5C-180A2B5922CA}" destId="{94D23C4D-2C84-4493-8EA9-05A7DAD1F3A9}" srcOrd="0" destOrd="2" presId="urn:microsoft.com/office/officeart/2005/8/layout/vList2"/>
    <dgm:cxn modelId="{B1C5E9BE-BAC8-4B8F-9A16-E8B61B76D606}" srcId="{D42998FA-7EA6-4F37-9F88-D0BB9A5DD642}" destId="{8F85E3FD-1CCE-4001-8C5C-180A2B5922CA}" srcOrd="2" destOrd="0" parTransId="{068DA2CC-2466-4648-8138-BCC658DED4EF}" sibTransId="{915752A9-F1F7-4AF0-8300-F9F529BC9229}"/>
    <dgm:cxn modelId="{65AABEC2-09DF-49BA-AC1B-3CCB78922CFC}" type="presOf" srcId="{80D8A238-421F-4656-B130-6B36F46ACFBA}" destId="{DC0A16D1-174B-4CE5-881F-F65F35C6F47C}" srcOrd="0" destOrd="0" presId="urn:microsoft.com/office/officeart/2005/8/layout/vList2"/>
    <dgm:cxn modelId="{224640CC-2C11-4993-A6C8-C32C6B7D6372}" srcId="{80D8A238-421F-4656-B130-6B36F46ACFBA}" destId="{D42998FA-7EA6-4F37-9F88-D0BB9A5DD642}" srcOrd="0" destOrd="0" parTransId="{209A8403-A9A5-427A-974D-FB5B6AA98257}" sibTransId="{C4886027-B0CD-4693-AD1E-5EFF83F501FC}"/>
    <dgm:cxn modelId="{25D973D0-3741-4D4B-B9F9-7B019C55A86C}" srcId="{D42998FA-7EA6-4F37-9F88-D0BB9A5DD642}" destId="{A80BE00A-49ED-4A58-886A-BBF9EB0EEE5C}" srcOrd="3" destOrd="0" parTransId="{BD50CF0B-E84C-4CAA-B350-256847334EE4}" sibTransId="{04AD9169-6456-4E86-A053-FB830B49A595}"/>
    <dgm:cxn modelId="{FA078CFC-7D0C-48B1-99DA-784FD54627F9}" type="presOf" srcId="{F74FD83C-9677-4547-AC0E-2DA714AF1F41}" destId="{94D23C4D-2C84-4493-8EA9-05A7DAD1F3A9}" srcOrd="0" destOrd="0" presId="urn:microsoft.com/office/officeart/2005/8/layout/vList2"/>
    <dgm:cxn modelId="{67B6F0FE-5D97-4B7C-9472-E70BE6E030AF}" srcId="{D42998FA-7EA6-4F37-9F88-D0BB9A5DD642}" destId="{F74FD83C-9677-4547-AC0E-2DA714AF1F41}" srcOrd="0" destOrd="0" parTransId="{7BABA7BB-32E8-43F5-BBA0-16C26E689A66}" sibTransId="{57264AC3-AA4A-43A0-B678-368207CAD6E0}"/>
    <dgm:cxn modelId="{DB63B788-9C5F-4A76-811E-F5D512B6C1FC}" type="presParOf" srcId="{DC0A16D1-174B-4CE5-881F-F65F35C6F47C}" destId="{72781041-4575-4982-8D38-B265DE3598A8}" srcOrd="0" destOrd="0" presId="urn:microsoft.com/office/officeart/2005/8/layout/vList2"/>
    <dgm:cxn modelId="{BA871F21-47C8-4B92-AD7B-A8AF136A0C9B}" type="presParOf" srcId="{DC0A16D1-174B-4CE5-881F-F65F35C6F47C}" destId="{94D23C4D-2C84-4493-8EA9-05A7DAD1F3A9}" srcOrd="1"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3B06077-D743-4F27-B115-BFB16B076C4E}"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6DF407E7-820C-4CDA-AC09-821F3BA63EC4}">
      <dgm:prSet custT="1"/>
      <dgm:spPr/>
      <dgm:t>
        <a:bodyPr/>
        <a:lstStyle/>
        <a:p>
          <a:r>
            <a:rPr lang="en-US" sz="2400" baseline="0" dirty="0"/>
            <a:t>Get details for the individual queries</a:t>
          </a:r>
          <a:endParaRPr lang="en-US" sz="2400" dirty="0"/>
        </a:p>
      </dgm:t>
    </dgm:pt>
    <dgm:pt modelId="{81F87319-CE8B-482C-9E36-72C8AE9A194C}" type="parTrans" cxnId="{2B7140C2-D7D4-49E5-A079-33DF794C4127}">
      <dgm:prSet/>
      <dgm:spPr/>
      <dgm:t>
        <a:bodyPr/>
        <a:lstStyle/>
        <a:p>
          <a:endParaRPr lang="en-US"/>
        </a:p>
      </dgm:t>
    </dgm:pt>
    <dgm:pt modelId="{B5E607DA-0643-4A8D-8C29-E648D6FEDCFC}" type="sibTrans" cxnId="{2B7140C2-D7D4-49E5-A079-33DF794C4127}">
      <dgm:prSet/>
      <dgm:spPr/>
      <dgm:t>
        <a:bodyPr/>
        <a:lstStyle/>
        <a:p>
          <a:endParaRPr lang="en-US"/>
        </a:p>
      </dgm:t>
    </dgm:pt>
    <dgm:pt modelId="{5F3C80D6-3B1C-4372-AEA0-4E68B07D507E}">
      <dgm:prSet custT="1"/>
      <dgm:spPr/>
      <dgm:t>
        <a:bodyPr/>
        <a:lstStyle/>
        <a:p>
          <a:r>
            <a:rPr lang="en-US" sz="2000" baseline="0" dirty="0"/>
            <a:t>CPU Consumption</a:t>
          </a:r>
          <a:endParaRPr lang="en-US" sz="2000" dirty="0"/>
        </a:p>
      </dgm:t>
    </dgm:pt>
    <dgm:pt modelId="{B505CF8A-6F75-4903-BBC3-20DFFC4C548B}" type="parTrans" cxnId="{72E0A53B-EBC3-4B8A-8B22-C8AD5C63B8CD}">
      <dgm:prSet/>
      <dgm:spPr/>
      <dgm:t>
        <a:bodyPr/>
        <a:lstStyle/>
        <a:p>
          <a:endParaRPr lang="en-US"/>
        </a:p>
      </dgm:t>
    </dgm:pt>
    <dgm:pt modelId="{CEA961A0-24D7-42AC-B4A4-1FAFFC7198F7}" type="sibTrans" cxnId="{72E0A53B-EBC3-4B8A-8B22-C8AD5C63B8CD}">
      <dgm:prSet/>
      <dgm:spPr/>
      <dgm:t>
        <a:bodyPr/>
        <a:lstStyle/>
        <a:p>
          <a:endParaRPr lang="en-US"/>
        </a:p>
      </dgm:t>
    </dgm:pt>
    <dgm:pt modelId="{EE814AA4-1EED-48AE-9442-7658993BBEC2}">
      <dgm:prSet custT="1"/>
      <dgm:spPr/>
      <dgm:t>
        <a:bodyPr/>
        <a:lstStyle/>
        <a:p>
          <a:r>
            <a:rPr lang="en-US" sz="2000" baseline="0"/>
            <a:t>Duration</a:t>
          </a:r>
          <a:endParaRPr lang="en-US" sz="2000"/>
        </a:p>
      </dgm:t>
    </dgm:pt>
    <dgm:pt modelId="{BA43835A-62ED-4FD5-A6F5-B16DCB0836E1}" type="parTrans" cxnId="{AAE75118-FE0C-4884-AFFE-0EFDFE87E54E}">
      <dgm:prSet/>
      <dgm:spPr/>
      <dgm:t>
        <a:bodyPr/>
        <a:lstStyle/>
        <a:p>
          <a:endParaRPr lang="en-US"/>
        </a:p>
      </dgm:t>
    </dgm:pt>
    <dgm:pt modelId="{D151F305-9B5A-4AAB-8D95-96726FC8BA60}" type="sibTrans" cxnId="{AAE75118-FE0C-4884-AFFE-0EFDFE87E54E}">
      <dgm:prSet/>
      <dgm:spPr/>
      <dgm:t>
        <a:bodyPr/>
        <a:lstStyle/>
        <a:p>
          <a:endParaRPr lang="en-US"/>
        </a:p>
      </dgm:t>
    </dgm:pt>
    <dgm:pt modelId="{9113F460-0730-4EE2-8092-4EA6D46B3B96}">
      <dgm:prSet custT="1"/>
      <dgm:spPr/>
      <dgm:t>
        <a:bodyPr/>
        <a:lstStyle/>
        <a:p>
          <a:r>
            <a:rPr lang="en-US" sz="2000" baseline="0" dirty="0"/>
            <a:t>Execution Count</a:t>
          </a:r>
          <a:endParaRPr lang="en-US" sz="2000" dirty="0"/>
        </a:p>
      </dgm:t>
    </dgm:pt>
    <dgm:pt modelId="{2DE1D333-4A76-478B-B097-424295D8DC6C}" type="parTrans" cxnId="{E03E88B3-4F93-4F4C-89EA-5E98387EE710}">
      <dgm:prSet/>
      <dgm:spPr/>
      <dgm:t>
        <a:bodyPr/>
        <a:lstStyle/>
        <a:p>
          <a:endParaRPr lang="en-US"/>
        </a:p>
      </dgm:t>
    </dgm:pt>
    <dgm:pt modelId="{83DC5862-B279-45B6-BCA9-00B69EB1AFDE}" type="sibTrans" cxnId="{E03E88B3-4F93-4F4C-89EA-5E98387EE710}">
      <dgm:prSet/>
      <dgm:spPr/>
      <dgm:t>
        <a:bodyPr/>
        <a:lstStyle/>
        <a:p>
          <a:endParaRPr lang="en-US"/>
        </a:p>
      </dgm:t>
    </dgm:pt>
    <dgm:pt modelId="{2068BAEC-3E42-4164-BAB5-4667443BDFB6}">
      <dgm:prSet custT="1"/>
      <dgm:spPr/>
      <dgm:t>
        <a:bodyPr/>
        <a:lstStyle/>
        <a:p>
          <a:r>
            <a:rPr lang="en-US" sz="2400" baseline="0" dirty="0"/>
            <a:t>It does not capture DDL queries</a:t>
          </a:r>
          <a:endParaRPr lang="en-US" sz="2400" dirty="0"/>
        </a:p>
      </dgm:t>
    </dgm:pt>
    <dgm:pt modelId="{BB4A05A1-5BCA-4E6F-86DC-3F3B5B8AFCFD}" type="parTrans" cxnId="{822929AD-05B6-41E6-BAA9-7FD38F5BF541}">
      <dgm:prSet/>
      <dgm:spPr/>
      <dgm:t>
        <a:bodyPr/>
        <a:lstStyle/>
        <a:p>
          <a:endParaRPr lang="en-US"/>
        </a:p>
      </dgm:t>
    </dgm:pt>
    <dgm:pt modelId="{79CB3221-797B-4E8F-A9C3-63FFA509B6F3}" type="sibTrans" cxnId="{822929AD-05B6-41E6-BAA9-7FD38F5BF541}">
      <dgm:prSet/>
      <dgm:spPr/>
      <dgm:t>
        <a:bodyPr/>
        <a:lstStyle/>
        <a:p>
          <a:endParaRPr lang="en-US"/>
        </a:p>
      </dgm:t>
    </dgm:pt>
    <dgm:pt modelId="{FB1ABB9E-4A75-4936-A79F-664F22D2913B}" type="pres">
      <dgm:prSet presAssocID="{A3B06077-D743-4F27-B115-BFB16B076C4E}" presName="linear" presStyleCnt="0">
        <dgm:presLayoutVars>
          <dgm:animLvl val="lvl"/>
          <dgm:resizeHandles val="exact"/>
        </dgm:presLayoutVars>
      </dgm:prSet>
      <dgm:spPr/>
    </dgm:pt>
    <dgm:pt modelId="{657E59CF-D9DE-4529-9FE8-6A9B72F6F2D9}" type="pres">
      <dgm:prSet presAssocID="{6DF407E7-820C-4CDA-AC09-821F3BA63EC4}" presName="parentText" presStyleLbl="node1" presStyleIdx="0" presStyleCnt="2">
        <dgm:presLayoutVars>
          <dgm:chMax val="0"/>
          <dgm:bulletEnabled val="1"/>
        </dgm:presLayoutVars>
      </dgm:prSet>
      <dgm:spPr/>
    </dgm:pt>
    <dgm:pt modelId="{74C59528-9B9A-42EF-9E3E-973956D09847}" type="pres">
      <dgm:prSet presAssocID="{6DF407E7-820C-4CDA-AC09-821F3BA63EC4}" presName="childText" presStyleLbl="revTx" presStyleIdx="0" presStyleCnt="1">
        <dgm:presLayoutVars>
          <dgm:bulletEnabled val="1"/>
        </dgm:presLayoutVars>
      </dgm:prSet>
      <dgm:spPr/>
    </dgm:pt>
    <dgm:pt modelId="{E76F6BF3-F965-4588-8C47-77DD1629D9DB}" type="pres">
      <dgm:prSet presAssocID="{2068BAEC-3E42-4164-BAB5-4667443BDFB6}" presName="parentText" presStyleLbl="node1" presStyleIdx="1" presStyleCnt="2">
        <dgm:presLayoutVars>
          <dgm:chMax val="0"/>
          <dgm:bulletEnabled val="1"/>
        </dgm:presLayoutVars>
      </dgm:prSet>
      <dgm:spPr/>
    </dgm:pt>
  </dgm:ptLst>
  <dgm:cxnLst>
    <dgm:cxn modelId="{AAE75118-FE0C-4884-AFFE-0EFDFE87E54E}" srcId="{6DF407E7-820C-4CDA-AC09-821F3BA63EC4}" destId="{EE814AA4-1EED-48AE-9442-7658993BBEC2}" srcOrd="1" destOrd="0" parTransId="{BA43835A-62ED-4FD5-A6F5-B16DCB0836E1}" sibTransId="{D151F305-9B5A-4AAB-8D95-96726FC8BA60}"/>
    <dgm:cxn modelId="{72E0A53B-EBC3-4B8A-8B22-C8AD5C63B8CD}" srcId="{6DF407E7-820C-4CDA-AC09-821F3BA63EC4}" destId="{5F3C80D6-3B1C-4372-AEA0-4E68B07D507E}" srcOrd="0" destOrd="0" parTransId="{B505CF8A-6F75-4903-BBC3-20DFFC4C548B}" sibTransId="{CEA961A0-24D7-42AC-B4A4-1FAFFC7198F7}"/>
    <dgm:cxn modelId="{64E97D98-A074-4CC4-9841-E615BE3D1432}" type="presOf" srcId="{2068BAEC-3E42-4164-BAB5-4667443BDFB6}" destId="{E76F6BF3-F965-4588-8C47-77DD1629D9DB}" srcOrd="0" destOrd="0" presId="urn:microsoft.com/office/officeart/2005/8/layout/vList2"/>
    <dgm:cxn modelId="{EBFCFBA7-EBB1-4E24-9C48-169839E441F5}" type="presOf" srcId="{9113F460-0730-4EE2-8092-4EA6D46B3B96}" destId="{74C59528-9B9A-42EF-9E3E-973956D09847}" srcOrd="0" destOrd="2" presId="urn:microsoft.com/office/officeart/2005/8/layout/vList2"/>
    <dgm:cxn modelId="{822929AD-05B6-41E6-BAA9-7FD38F5BF541}" srcId="{A3B06077-D743-4F27-B115-BFB16B076C4E}" destId="{2068BAEC-3E42-4164-BAB5-4667443BDFB6}" srcOrd="1" destOrd="0" parTransId="{BB4A05A1-5BCA-4E6F-86DC-3F3B5B8AFCFD}" sibTransId="{79CB3221-797B-4E8F-A9C3-63FFA509B6F3}"/>
    <dgm:cxn modelId="{0BC39BB0-83A4-4844-9D1C-70704690C1F2}" type="presOf" srcId="{6DF407E7-820C-4CDA-AC09-821F3BA63EC4}" destId="{657E59CF-D9DE-4529-9FE8-6A9B72F6F2D9}" srcOrd="0" destOrd="0" presId="urn:microsoft.com/office/officeart/2005/8/layout/vList2"/>
    <dgm:cxn modelId="{E03E88B3-4F93-4F4C-89EA-5E98387EE710}" srcId="{6DF407E7-820C-4CDA-AC09-821F3BA63EC4}" destId="{9113F460-0730-4EE2-8092-4EA6D46B3B96}" srcOrd="2" destOrd="0" parTransId="{2DE1D333-4A76-478B-B097-424295D8DC6C}" sibTransId="{83DC5862-B279-45B6-BCA9-00B69EB1AFDE}"/>
    <dgm:cxn modelId="{2B7140C2-D7D4-49E5-A079-33DF794C4127}" srcId="{A3B06077-D743-4F27-B115-BFB16B076C4E}" destId="{6DF407E7-820C-4CDA-AC09-821F3BA63EC4}" srcOrd="0" destOrd="0" parTransId="{81F87319-CE8B-482C-9E36-72C8AE9A194C}" sibTransId="{B5E607DA-0643-4A8D-8C29-E648D6FEDCFC}"/>
    <dgm:cxn modelId="{5911CCCA-B73E-4F17-800D-DA6BD87BF9EC}" type="presOf" srcId="{EE814AA4-1EED-48AE-9442-7658993BBEC2}" destId="{74C59528-9B9A-42EF-9E3E-973956D09847}" srcOrd="0" destOrd="1" presId="urn:microsoft.com/office/officeart/2005/8/layout/vList2"/>
    <dgm:cxn modelId="{9FD2D1D1-A6E3-42AF-9CAC-24DC042EB3D0}" type="presOf" srcId="{A3B06077-D743-4F27-B115-BFB16B076C4E}" destId="{FB1ABB9E-4A75-4936-A79F-664F22D2913B}" srcOrd="0" destOrd="0" presId="urn:microsoft.com/office/officeart/2005/8/layout/vList2"/>
    <dgm:cxn modelId="{FF8457E3-EF04-4535-87F8-175CFE9A1723}" type="presOf" srcId="{5F3C80D6-3B1C-4372-AEA0-4E68B07D507E}" destId="{74C59528-9B9A-42EF-9E3E-973956D09847}" srcOrd="0" destOrd="0" presId="urn:microsoft.com/office/officeart/2005/8/layout/vList2"/>
    <dgm:cxn modelId="{DB172564-30A2-4FF7-BE90-9698C8EAE48C}" type="presParOf" srcId="{FB1ABB9E-4A75-4936-A79F-664F22D2913B}" destId="{657E59CF-D9DE-4529-9FE8-6A9B72F6F2D9}" srcOrd="0" destOrd="0" presId="urn:microsoft.com/office/officeart/2005/8/layout/vList2"/>
    <dgm:cxn modelId="{F8375FEC-901D-40DB-96B8-62C8253A8B4A}" type="presParOf" srcId="{FB1ABB9E-4A75-4936-A79F-664F22D2913B}" destId="{74C59528-9B9A-42EF-9E3E-973956D09847}" srcOrd="1" destOrd="0" presId="urn:microsoft.com/office/officeart/2005/8/layout/vList2"/>
    <dgm:cxn modelId="{67E3B45D-53B3-41A7-B918-25A861E183A5}" type="presParOf" srcId="{FB1ABB9E-4A75-4936-A79F-664F22D2913B}" destId="{E76F6BF3-F965-4588-8C47-77DD1629D9DB}"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A3BE995-A6BA-4BAC-A7B3-BBEA4EF22D5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7ACF7DD-146C-4F93-8EB1-1A2A8759EF90}">
      <dgm:prSet custT="1"/>
      <dgm:spPr/>
      <dgm:t>
        <a:bodyPr/>
        <a:lstStyle/>
        <a:p>
          <a:r>
            <a:rPr lang="en-US" sz="2400" baseline="0" dirty="0"/>
            <a:t>Duration is one of the metrics showing potential bottleneck</a:t>
          </a:r>
          <a:endParaRPr lang="en-US" sz="2400" dirty="0"/>
        </a:p>
      </dgm:t>
    </dgm:pt>
    <dgm:pt modelId="{ADDE756C-5304-4436-B103-90FF20E2812B}" type="parTrans" cxnId="{418E0B32-307F-4898-B80A-8A742A9470AA}">
      <dgm:prSet/>
      <dgm:spPr/>
      <dgm:t>
        <a:bodyPr/>
        <a:lstStyle/>
        <a:p>
          <a:endParaRPr lang="en-US"/>
        </a:p>
      </dgm:t>
    </dgm:pt>
    <dgm:pt modelId="{C8AF6611-45C9-44FB-8864-DD1E13EF274A}" type="sibTrans" cxnId="{418E0B32-307F-4898-B80A-8A742A9470AA}">
      <dgm:prSet/>
      <dgm:spPr/>
      <dgm:t>
        <a:bodyPr/>
        <a:lstStyle/>
        <a:p>
          <a:endParaRPr lang="en-US"/>
        </a:p>
      </dgm:t>
    </dgm:pt>
    <dgm:pt modelId="{7C1F74C0-F3EA-43E6-9BEC-E4D41FCAEF1D}">
      <dgm:prSet custT="1"/>
      <dgm:spPr/>
      <dgm:t>
        <a:bodyPr/>
        <a:lstStyle/>
        <a:p>
          <a:r>
            <a:rPr lang="en-US" sz="2400" baseline="0" dirty="0"/>
            <a:t>Long-running queries has potential for:</a:t>
          </a:r>
          <a:endParaRPr lang="en-US" sz="2400" dirty="0"/>
        </a:p>
      </dgm:t>
    </dgm:pt>
    <dgm:pt modelId="{F73F932C-9C50-46EE-A368-DA61B8547BC0}" type="parTrans" cxnId="{2ED1757F-CB14-4CB9-AEE9-1CE1990B2CE6}">
      <dgm:prSet/>
      <dgm:spPr/>
      <dgm:t>
        <a:bodyPr/>
        <a:lstStyle/>
        <a:p>
          <a:endParaRPr lang="en-US"/>
        </a:p>
      </dgm:t>
    </dgm:pt>
    <dgm:pt modelId="{DCB6A5D0-4DC7-49C7-BB7A-3FECACC7CCFD}" type="sibTrans" cxnId="{2ED1757F-CB14-4CB9-AEE9-1CE1990B2CE6}">
      <dgm:prSet/>
      <dgm:spPr/>
      <dgm:t>
        <a:bodyPr/>
        <a:lstStyle/>
        <a:p>
          <a:endParaRPr lang="en-US"/>
        </a:p>
      </dgm:t>
    </dgm:pt>
    <dgm:pt modelId="{10AFDA61-EA15-4ED3-81B3-8C2A7A023E65}">
      <dgm:prSet custT="1"/>
      <dgm:spPr/>
      <dgm:t>
        <a:bodyPr/>
        <a:lstStyle/>
        <a:p>
          <a:r>
            <a:rPr lang="en-US" sz="2000" baseline="0" dirty="0"/>
            <a:t>Longer locks</a:t>
          </a:r>
          <a:endParaRPr lang="en-US" sz="2000" dirty="0"/>
        </a:p>
      </dgm:t>
    </dgm:pt>
    <dgm:pt modelId="{00184EE6-D9C9-4D16-97B5-0A7BB80920BF}" type="parTrans" cxnId="{131211F9-951C-4514-AD56-277280659A55}">
      <dgm:prSet/>
      <dgm:spPr/>
      <dgm:t>
        <a:bodyPr/>
        <a:lstStyle/>
        <a:p>
          <a:endParaRPr lang="en-US"/>
        </a:p>
      </dgm:t>
    </dgm:pt>
    <dgm:pt modelId="{F02DEC82-C0BB-4169-B659-CDF07F66CD58}" type="sibTrans" cxnId="{131211F9-951C-4514-AD56-277280659A55}">
      <dgm:prSet/>
      <dgm:spPr/>
      <dgm:t>
        <a:bodyPr/>
        <a:lstStyle/>
        <a:p>
          <a:endParaRPr lang="en-US"/>
        </a:p>
      </dgm:t>
    </dgm:pt>
    <dgm:pt modelId="{EDCCDA50-8980-4B61-99F1-18C4A4495D9A}">
      <dgm:prSet custT="1"/>
      <dgm:spPr/>
      <dgm:t>
        <a:bodyPr/>
        <a:lstStyle/>
        <a:p>
          <a:r>
            <a:rPr lang="en-US" sz="2000" baseline="0" dirty="0"/>
            <a:t>Blocking other users</a:t>
          </a:r>
          <a:endParaRPr lang="en-US" sz="2000" dirty="0"/>
        </a:p>
      </dgm:t>
    </dgm:pt>
    <dgm:pt modelId="{3AAD31E8-6389-4CA4-8F1F-5EDB23A2D732}" type="parTrans" cxnId="{6875254E-44FB-4AB9-BCC1-4BB25C05A75F}">
      <dgm:prSet/>
      <dgm:spPr/>
      <dgm:t>
        <a:bodyPr/>
        <a:lstStyle/>
        <a:p>
          <a:endParaRPr lang="en-US"/>
        </a:p>
      </dgm:t>
    </dgm:pt>
    <dgm:pt modelId="{8D4ECA71-1A8A-4D6C-AAAA-6711C48FBE92}" type="sibTrans" cxnId="{6875254E-44FB-4AB9-BCC1-4BB25C05A75F}">
      <dgm:prSet/>
      <dgm:spPr/>
      <dgm:t>
        <a:bodyPr/>
        <a:lstStyle/>
        <a:p>
          <a:endParaRPr lang="en-US"/>
        </a:p>
      </dgm:t>
    </dgm:pt>
    <dgm:pt modelId="{2E4FA28F-573C-4C70-AECD-048643DC7D36}">
      <dgm:prSet custT="1"/>
      <dgm:spPr/>
      <dgm:t>
        <a:bodyPr/>
        <a:lstStyle/>
        <a:p>
          <a:r>
            <a:rPr lang="en-US" sz="2000" baseline="0" dirty="0"/>
            <a:t>Limiting scalability</a:t>
          </a:r>
          <a:endParaRPr lang="en-US" sz="2000" dirty="0"/>
        </a:p>
      </dgm:t>
    </dgm:pt>
    <dgm:pt modelId="{DA3ED037-809E-49F8-A427-F5BD39E365F8}" type="parTrans" cxnId="{86D77B81-B7BD-4368-843C-7A4676253298}">
      <dgm:prSet/>
      <dgm:spPr/>
      <dgm:t>
        <a:bodyPr/>
        <a:lstStyle/>
        <a:p>
          <a:endParaRPr lang="en-US"/>
        </a:p>
      </dgm:t>
    </dgm:pt>
    <dgm:pt modelId="{F2815EDD-DA84-41A0-BA2D-AFA3D5EBCB72}" type="sibTrans" cxnId="{86D77B81-B7BD-4368-843C-7A4676253298}">
      <dgm:prSet/>
      <dgm:spPr/>
      <dgm:t>
        <a:bodyPr/>
        <a:lstStyle/>
        <a:p>
          <a:endParaRPr lang="en-US"/>
        </a:p>
      </dgm:t>
    </dgm:pt>
    <dgm:pt modelId="{1BD587A8-9D3E-43B7-9F86-9E9462FE2B81}" type="pres">
      <dgm:prSet presAssocID="{EA3BE995-A6BA-4BAC-A7B3-BBEA4EF22D5C}" presName="linear" presStyleCnt="0">
        <dgm:presLayoutVars>
          <dgm:animLvl val="lvl"/>
          <dgm:resizeHandles val="exact"/>
        </dgm:presLayoutVars>
      </dgm:prSet>
      <dgm:spPr/>
    </dgm:pt>
    <dgm:pt modelId="{99F059FA-74DB-468F-A5C9-0AE5F006D671}" type="pres">
      <dgm:prSet presAssocID="{A7ACF7DD-146C-4F93-8EB1-1A2A8759EF90}" presName="parentText" presStyleLbl="node1" presStyleIdx="0" presStyleCnt="2">
        <dgm:presLayoutVars>
          <dgm:chMax val="0"/>
          <dgm:bulletEnabled val="1"/>
        </dgm:presLayoutVars>
      </dgm:prSet>
      <dgm:spPr/>
    </dgm:pt>
    <dgm:pt modelId="{E953F1F3-FEFE-4898-AB35-26D34DF5AB17}" type="pres">
      <dgm:prSet presAssocID="{C8AF6611-45C9-44FB-8864-DD1E13EF274A}" presName="spacer" presStyleCnt="0"/>
      <dgm:spPr/>
    </dgm:pt>
    <dgm:pt modelId="{5CBB367B-9C40-4F92-8C31-83DFA994EF25}" type="pres">
      <dgm:prSet presAssocID="{7C1F74C0-F3EA-43E6-9BEC-E4D41FCAEF1D}" presName="parentText" presStyleLbl="node1" presStyleIdx="1" presStyleCnt="2">
        <dgm:presLayoutVars>
          <dgm:chMax val="0"/>
          <dgm:bulletEnabled val="1"/>
        </dgm:presLayoutVars>
      </dgm:prSet>
      <dgm:spPr/>
    </dgm:pt>
    <dgm:pt modelId="{9AE7F440-4AD2-4E9D-A0E1-38F266616FB0}" type="pres">
      <dgm:prSet presAssocID="{7C1F74C0-F3EA-43E6-9BEC-E4D41FCAEF1D}" presName="childText" presStyleLbl="revTx" presStyleIdx="0" presStyleCnt="1">
        <dgm:presLayoutVars>
          <dgm:bulletEnabled val="1"/>
        </dgm:presLayoutVars>
      </dgm:prSet>
      <dgm:spPr/>
    </dgm:pt>
  </dgm:ptLst>
  <dgm:cxnLst>
    <dgm:cxn modelId="{0E3D4010-C0FF-4D2A-92C9-AED6F7682A51}" type="presOf" srcId="{10AFDA61-EA15-4ED3-81B3-8C2A7A023E65}" destId="{9AE7F440-4AD2-4E9D-A0E1-38F266616FB0}" srcOrd="0" destOrd="0" presId="urn:microsoft.com/office/officeart/2005/8/layout/vList2"/>
    <dgm:cxn modelId="{500E4F24-D03C-451E-BBF9-7ACBFBAEF91E}" type="presOf" srcId="{7C1F74C0-F3EA-43E6-9BEC-E4D41FCAEF1D}" destId="{5CBB367B-9C40-4F92-8C31-83DFA994EF25}" srcOrd="0" destOrd="0" presId="urn:microsoft.com/office/officeart/2005/8/layout/vList2"/>
    <dgm:cxn modelId="{418E0B32-307F-4898-B80A-8A742A9470AA}" srcId="{EA3BE995-A6BA-4BAC-A7B3-BBEA4EF22D5C}" destId="{A7ACF7DD-146C-4F93-8EB1-1A2A8759EF90}" srcOrd="0" destOrd="0" parTransId="{ADDE756C-5304-4436-B103-90FF20E2812B}" sibTransId="{C8AF6611-45C9-44FB-8864-DD1E13EF274A}"/>
    <dgm:cxn modelId="{4CBA046E-2F6F-4521-8CE7-8404D748B752}" type="presOf" srcId="{A7ACF7DD-146C-4F93-8EB1-1A2A8759EF90}" destId="{99F059FA-74DB-468F-A5C9-0AE5F006D671}" srcOrd="0" destOrd="0" presId="urn:microsoft.com/office/officeart/2005/8/layout/vList2"/>
    <dgm:cxn modelId="{6875254E-44FB-4AB9-BCC1-4BB25C05A75F}" srcId="{7C1F74C0-F3EA-43E6-9BEC-E4D41FCAEF1D}" destId="{EDCCDA50-8980-4B61-99F1-18C4A4495D9A}" srcOrd="1" destOrd="0" parTransId="{3AAD31E8-6389-4CA4-8F1F-5EDB23A2D732}" sibTransId="{8D4ECA71-1A8A-4D6C-AAAA-6711C48FBE92}"/>
    <dgm:cxn modelId="{78458957-5012-4429-A891-686A9DA73A0B}" type="presOf" srcId="{EA3BE995-A6BA-4BAC-A7B3-BBEA4EF22D5C}" destId="{1BD587A8-9D3E-43B7-9F86-9E9462FE2B81}" srcOrd="0" destOrd="0" presId="urn:microsoft.com/office/officeart/2005/8/layout/vList2"/>
    <dgm:cxn modelId="{2ED1757F-CB14-4CB9-AEE9-1CE1990B2CE6}" srcId="{EA3BE995-A6BA-4BAC-A7B3-BBEA4EF22D5C}" destId="{7C1F74C0-F3EA-43E6-9BEC-E4D41FCAEF1D}" srcOrd="1" destOrd="0" parTransId="{F73F932C-9C50-46EE-A368-DA61B8547BC0}" sibTransId="{DCB6A5D0-4DC7-49C7-BB7A-3FECACC7CCFD}"/>
    <dgm:cxn modelId="{86D77B81-B7BD-4368-843C-7A4676253298}" srcId="{7C1F74C0-F3EA-43E6-9BEC-E4D41FCAEF1D}" destId="{2E4FA28F-573C-4C70-AECD-048643DC7D36}" srcOrd="2" destOrd="0" parTransId="{DA3ED037-809E-49F8-A427-F5BD39E365F8}" sibTransId="{F2815EDD-DA84-41A0-BA2D-AFA3D5EBCB72}"/>
    <dgm:cxn modelId="{5887F9E4-D059-4B21-9003-A7AA9F70D7BF}" type="presOf" srcId="{EDCCDA50-8980-4B61-99F1-18C4A4495D9A}" destId="{9AE7F440-4AD2-4E9D-A0E1-38F266616FB0}" srcOrd="0" destOrd="1" presId="urn:microsoft.com/office/officeart/2005/8/layout/vList2"/>
    <dgm:cxn modelId="{A4156FF5-3AEC-4A30-9449-9C172A90E6F3}" type="presOf" srcId="{2E4FA28F-573C-4C70-AECD-048643DC7D36}" destId="{9AE7F440-4AD2-4E9D-A0E1-38F266616FB0}" srcOrd="0" destOrd="2" presId="urn:microsoft.com/office/officeart/2005/8/layout/vList2"/>
    <dgm:cxn modelId="{131211F9-951C-4514-AD56-277280659A55}" srcId="{7C1F74C0-F3EA-43E6-9BEC-E4D41FCAEF1D}" destId="{10AFDA61-EA15-4ED3-81B3-8C2A7A023E65}" srcOrd="0" destOrd="0" parTransId="{00184EE6-D9C9-4D16-97B5-0A7BB80920BF}" sibTransId="{F02DEC82-C0BB-4169-B659-CDF07F66CD58}"/>
    <dgm:cxn modelId="{EC4F72C4-A9AE-4EAD-B2E5-D3168CD5AE44}" type="presParOf" srcId="{1BD587A8-9D3E-43B7-9F86-9E9462FE2B81}" destId="{99F059FA-74DB-468F-A5C9-0AE5F006D671}" srcOrd="0" destOrd="0" presId="urn:microsoft.com/office/officeart/2005/8/layout/vList2"/>
    <dgm:cxn modelId="{C99A510A-3A4A-40FB-B958-981FDAF05ED8}" type="presParOf" srcId="{1BD587A8-9D3E-43B7-9F86-9E9462FE2B81}" destId="{E953F1F3-FEFE-4898-AB35-26D34DF5AB17}" srcOrd="1" destOrd="0" presId="urn:microsoft.com/office/officeart/2005/8/layout/vList2"/>
    <dgm:cxn modelId="{A6D4E5F0-3440-4CC5-A8E2-1F25D13F6D3A}" type="presParOf" srcId="{1BD587A8-9D3E-43B7-9F86-9E9462FE2B81}" destId="{5CBB367B-9C40-4F92-8C31-83DFA994EF25}" srcOrd="2" destOrd="0" presId="urn:microsoft.com/office/officeart/2005/8/layout/vList2"/>
    <dgm:cxn modelId="{D6FB630A-9E50-4D69-AB4E-CC264C731AF1}" type="presParOf" srcId="{1BD587A8-9D3E-43B7-9F86-9E9462FE2B81}" destId="{9AE7F440-4AD2-4E9D-A0E1-38F266616FB0}"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A3BE995-A6BA-4BAC-A7B3-BBEA4EF22D5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7ACF7DD-146C-4F93-8EB1-1A2A8759EF90}">
      <dgm:prSet custT="1"/>
      <dgm:spPr/>
      <dgm:t>
        <a:bodyPr/>
        <a:lstStyle/>
        <a:p>
          <a:r>
            <a:rPr lang="en-US" sz="2400" baseline="0" dirty="0"/>
            <a:t>Execution count is one of the metrics showing potential bottleneck</a:t>
          </a:r>
          <a:endParaRPr lang="en-US" sz="2400" dirty="0"/>
        </a:p>
      </dgm:t>
    </dgm:pt>
    <dgm:pt modelId="{ADDE756C-5304-4436-B103-90FF20E2812B}" type="parTrans" cxnId="{418E0B32-307F-4898-B80A-8A742A9470AA}">
      <dgm:prSet/>
      <dgm:spPr/>
      <dgm:t>
        <a:bodyPr/>
        <a:lstStyle/>
        <a:p>
          <a:endParaRPr lang="en-US"/>
        </a:p>
      </dgm:t>
    </dgm:pt>
    <dgm:pt modelId="{C8AF6611-45C9-44FB-8864-DD1E13EF274A}" type="sibTrans" cxnId="{418E0B32-307F-4898-B80A-8A742A9470AA}">
      <dgm:prSet/>
      <dgm:spPr/>
      <dgm:t>
        <a:bodyPr/>
        <a:lstStyle/>
        <a:p>
          <a:endParaRPr lang="en-US"/>
        </a:p>
      </dgm:t>
    </dgm:pt>
    <dgm:pt modelId="{7C1F74C0-F3EA-43E6-9BEC-E4D41FCAEF1D}">
      <dgm:prSet custT="1"/>
      <dgm:spPr/>
      <dgm:t>
        <a:bodyPr/>
        <a:lstStyle/>
        <a:p>
          <a:r>
            <a:rPr lang="en-US" sz="2400" baseline="0" dirty="0"/>
            <a:t>High number </a:t>
          </a:r>
          <a:r>
            <a:rPr lang="en-US" sz="2400" baseline="0" dirty="0" err="1"/>
            <a:t>og</a:t>
          </a:r>
          <a:r>
            <a:rPr lang="en-US" sz="2400" baseline="0" dirty="0"/>
            <a:t> executions has potential for:</a:t>
          </a:r>
          <a:endParaRPr lang="en-US" sz="2400" dirty="0"/>
        </a:p>
      </dgm:t>
    </dgm:pt>
    <dgm:pt modelId="{F73F932C-9C50-46EE-A368-DA61B8547BC0}" type="parTrans" cxnId="{2ED1757F-CB14-4CB9-AEE9-1CE1990B2CE6}">
      <dgm:prSet/>
      <dgm:spPr/>
      <dgm:t>
        <a:bodyPr/>
        <a:lstStyle/>
        <a:p>
          <a:endParaRPr lang="en-US"/>
        </a:p>
      </dgm:t>
    </dgm:pt>
    <dgm:pt modelId="{DCB6A5D0-4DC7-49C7-BB7A-3FECACC7CCFD}" type="sibTrans" cxnId="{2ED1757F-CB14-4CB9-AEE9-1CE1990B2CE6}">
      <dgm:prSet/>
      <dgm:spPr/>
      <dgm:t>
        <a:bodyPr/>
        <a:lstStyle/>
        <a:p>
          <a:endParaRPr lang="en-US"/>
        </a:p>
      </dgm:t>
    </dgm:pt>
    <dgm:pt modelId="{10AFDA61-EA15-4ED3-81B3-8C2A7A023E65}">
      <dgm:prSet custT="1"/>
      <dgm:spPr/>
      <dgm:t>
        <a:bodyPr/>
        <a:lstStyle/>
        <a:p>
          <a:r>
            <a:rPr lang="en-US" sz="2000" baseline="0" dirty="0"/>
            <a:t>Database performance</a:t>
          </a:r>
          <a:endParaRPr lang="en-US" sz="2000" dirty="0"/>
        </a:p>
      </dgm:t>
    </dgm:pt>
    <dgm:pt modelId="{00184EE6-D9C9-4D16-97B5-0A7BB80920BF}" type="parTrans" cxnId="{131211F9-951C-4514-AD56-277280659A55}">
      <dgm:prSet/>
      <dgm:spPr/>
      <dgm:t>
        <a:bodyPr/>
        <a:lstStyle/>
        <a:p>
          <a:endParaRPr lang="en-US"/>
        </a:p>
      </dgm:t>
    </dgm:pt>
    <dgm:pt modelId="{F02DEC82-C0BB-4169-B659-CDF07F66CD58}" type="sibTrans" cxnId="{131211F9-951C-4514-AD56-277280659A55}">
      <dgm:prSet/>
      <dgm:spPr/>
      <dgm:t>
        <a:bodyPr/>
        <a:lstStyle/>
        <a:p>
          <a:endParaRPr lang="en-US"/>
        </a:p>
      </dgm:t>
    </dgm:pt>
    <dgm:pt modelId="{6EC44D89-6ADF-40B9-A29D-963B84DBEE72}">
      <dgm:prSet custT="1"/>
      <dgm:spPr/>
      <dgm:t>
        <a:bodyPr/>
        <a:lstStyle/>
        <a:p>
          <a:r>
            <a:rPr lang="en-US" sz="2000" dirty="0"/>
            <a:t>Network latency</a:t>
          </a:r>
        </a:p>
      </dgm:t>
    </dgm:pt>
    <dgm:pt modelId="{76E7E603-F7CB-4848-98BF-325AE9DF5C98}" type="parTrans" cxnId="{9F529BED-4DF4-4F5F-8803-A42D333D3030}">
      <dgm:prSet/>
      <dgm:spPr/>
    </dgm:pt>
    <dgm:pt modelId="{6FFDA0ED-A524-4090-B168-FD04D7D58D1E}" type="sibTrans" cxnId="{9F529BED-4DF4-4F5F-8803-A42D333D3030}">
      <dgm:prSet/>
      <dgm:spPr/>
    </dgm:pt>
    <dgm:pt modelId="{44F99BFD-FE40-4E22-9601-6BDD097961BD}">
      <dgm:prSet custT="1"/>
      <dgm:spPr/>
      <dgm:t>
        <a:bodyPr/>
        <a:lstStyle/>
        <a:p>
          <a:r>
            <a:rPr lang="en-US" sz="2000" dirty="0"/>
            <a:t>Downstream server latency</a:t>
          </a:r>
        </a:p>
      </dgm:t>
    </dgm:pt>
    <dgm:pt modelId="{468B0328-232A-44F9-871B-BF24A6DD110E}" type="parTrans" cxnId="{615CA836-6519-4508-B8B7-349002D6456B}">
      <dgm:prSet/>
      <dgm:spPr/>
    </dgm:pt>
    <dgm:pt modelId="{5E2432A6-CF5E-409F-8A0D-0201F2027C9A}" type="sibTrans" cxnId="{615CA836-6519-4508-B8B7-349002D6456B}">
      <dgm:prSet/>
      <dgm:spPr/>
    </dgm:pt>
    <dgm:pt modelId="{1BD587A8-9D3E-43B7-9F86-9E9462FE2B81}" type="pres">
      <dgm:prSet presAssocID="{EA3BE995-A6BA-4BAC-A7B3-BBEA4EF22D5C}" presName="linear" presStyleCnt="0">
        <dgm:presLayoutVars>
          <dgm:animLvl val="lvl"/>
          <dgm:resizeHandles val="exact"/>
        </dgm:presLayoutVars>
      </dgm:prSet>
      <dgm:spPr/>
    </dgm:pt>
    <dgm:pt modelId="{99F059FA-74DB-468F-A5C9-0AE5F006D671}" type="pres">
      <dgm:prSet presAssocID="{A7ACF7DD-146C-4F93-8EB1-1A2A8759EF90}" presName="parentText" presStyleLbl="node1" presStyleIdx="0" presStyleCnt="2">
        <dgm:presLayoutVars>
          <dgm:chMax val="0"/>
          <dgm:bulletEnabled val="1"/>
        </dgm:presLayoutVars>
      </dgm:prSet>
      <dgm:spPr/>
    </dgm:pt>
    <dgm:pt modelId="{E953F1F3-FEFE-4898-AB35-26D34DF5AB17}" type="pres">
      <dgm:prSet presAssocID="{C8AF6611-45C9-44FB-8864-DD1E13EF274A}" presName="spacer" presStyleCnt="0"/>
      <dgm:spPr/>
    </dgm:pt>
    <dgm:pt modelId="{5CBB367B-9C40-4F92-8C31-83DFA994EF25}" type="pres">
      <dgm:prSet presAssocID="{7C1F74C0-F3EA-43E6-9BEC-E4D41FCAEF1D}" presName="parentText" presStyleLbl="node1" presStyleIdx="1" presStyleCnt="2">
        <dgm:presLayoutVars>
          <dgm:chMax val="0"/>
          <dgm:bulletEnabled val="1"/>
        </dgm:presLayoutVars>
      </dgm:prSet>
      <dgm:spPr/>
    </dgm:pt>
    <dgm:pt modelId="{9AE7F440-4AD2-4E9D-A0E1-38F266616FB0}" type="pres">
      <dgm:prSet presAssocID="{7C1F74C0-F3EA-43E6-9BEC-E4D41FCAEF1D}" presName="childText" presStyleLbl="revTx" presStyleIdx="0" presStyleCnt="1">
        <dgm:presLayoutVars>
          <dgm:bulletEnabled val="1"/>
        </dgm:presLayoutVars>
      </dgm:prSet>
      <dgm:spPr/>
    </dgm:pt>
  </dgm:ptLst>
  <dgm:cxnLst>
    <dgm:cxn modelId="{0E3D4010-C0FF-4D2A-92C9-AED6F7682A51}" type="presOf" srcId="{10AFDA61-EA15-4ED3-81B3-8C2A7A023E65}" destId="{9AE7F440-4AD2-4E9D-A0E1-38F266616FB0}" srcOrd="0" destOrd="0" presId="urn:microsoft.com/office/officeart/2005/8/layout/vList2"/>
    <dgm:cxn modelId="{500E4F24-D03C-451E-BBF9-7ACBFBAEF91E}" type="presOf" srcId="{7C1F74C0-F3EA-43E6-9BEC-E4D41FCAEF1D}" destId="{5CBB367B-9C40-4F92-8C31-83DFA994EF25}" srcOrd="0" destOrd="0" presId="urn:microsoft.com/office/officeart/2005/8/layout/vList2"/>
    <dgm:cxn modelId="{418E0B32-307F-4898-B80A-8A742A9470AA}" srcId="{EA3BE995-A6BA-4BAC-A7B3-BBEA4EF22D5C}" destId="{A7ACF7DD-146C-4F93-8EB1-1A2A8759EF90}" srcOrd="0" destOrd="0" parTransId="{ADDE756C-5304-4436-B103-90FF20E2812B}" sibTransId="{C8AF6611-45C9-44FB-8864-DD1E13EF274A}"/>
    <dgm:cxn modelId="{615CA836-6519-4508-B8B7-349002D6456B}" srcId="{7C1F74C0-F3EA-43E6-9BEC-E4D41FCAEF1D}" destId="{44F99BFD-FE40-4E22-9601-6BDD097961BD}" srcOrd="2" destOrd="0" parTransId="{468B0328-232A-44F9-871B-BF24A6DD110E}" sibTransId="{5E2432A6-CF5E-409F-8A0D-0201F2027C9A}"/>
    <dgm:cxn modelId="{E95FDF6B-351F-43E6-AF17-C2D13D993337}" type="presOf" srcId="{44F99BFD-FE40-4E22-9601-6BDD097961BD}" destId="{9AE7F440-4AD2-4E9D-A0E1-38F266616FB0}" srcOrd="0" destOrd="2" presId="urn:microsoft.com/office/officeart/2005/8/layout/vList2"/>
    <dgm:cxn modelId="{4CBA046E-2F6F-4521-8CE7-8404D748B752}" type="presOf" srcId="{A7ACF7DD-146C-4F93-8EB1-1A2A8759EF90}" destId="{99F059FA-74DB-468F-A5C9-0AE5F006D671}" srcOrd="0" destOrd="0" presId="urn:microsoft.com/office/officeart/2005/8/layout/vList2"/>
    <dgm:cxn modelId="{74CEE876-AD70-4BAD-A9E2-FF69E1F79DF2}" type="presOf" srcId="{6EC44D89-6ADF-40B9-A29D-963B84DBEE72}" destId="{9AE7F440-4AD2-4E9D-A0E1-38F266616FB0}" srcOrd="0" destOrd="1" presId="urn:microsoft.com/office/officeart/2005/8/layout/vList2"/>
    <dgm:cxn modelId="{78458957-5012-4429-A891-686A9DA73A0B}" type="presOf" srcId="{EA3BE995-A6BA-4BAC-A7B3-BBEA4EF22D5C}" destId="{1BD587A8-9D3E-43B7-9F86-9E9462FE2B81}" srcOrd="0" destOrd="0" presId="urn:microsoft.com/office/officeart/2005/8/layout/vList2"/>
    <dgm:cxn modelId="{2ED1757F-CB14-4CB9-AEE9-1CE1990B2CE6}" srcId="{EA3BE995-A6BA-4BAC-A7B3-BBEA4EF22D5C}" destId="{7C1F74C0-F3EA-43E6-9BEC-E4D41FCAEF1D}" srcOrd="1" destOrd="0" parTransId="{F73F932C-9C50-46EE-A368-DA61B8547BC0}" sibTransId="{DCB6A5D0-4DC7-49C7-BB7A-3FECACC7CCFD}"/>
    <dgm:cxn modelId="{9F529BED-4DF4-4F5F-8803-A42D333D3030}" srcId="{7C1F74C0-F3EA-43E6-9BEC-E4D41FCAEF1D}" destId="{6EC44D89-6ADF-40B9-A29D-963B84DBEE72}" srcOrd="1" destOrd="0" parTransId="{76E7E603-F7CB-4848-98BF-325AE9DF5C98}" sibTransId="{6FFDA0ED-A524-4090-B168-FD04D7D58D1E}"/>
    <dgm:cxn modelId="{131211F9-951C-4514-AD56-277280659A55}" srcId="{7C1F74C0-F3EA-43E6-9BEC-E4D41FCAEF1D}" destId="{10AFDA61-EA15-4ED3-81B3-8C2A7A023E65}" srcOrd="0" destOrd="0" parTransId="{00184EE6-D9C9-4D16-97B5-0A7BB80920BF}" sibTransId="{F02DEC82-C0BB-4169-B659-CDF07F66CD58}"/>
    <dgm:cxn modelId="{EC4F72C4-A9AE-4EAD-B2E5-D3168CD5AE44}" type="presParOf" srcId="{1BD587A8-9D3E-43B7-9F86-9E9462FE2B81}" destId="{99F059FA-74DB-468F-A5C9-0AE5F006D671}" srcOrd="0" destOrd="0" presId="urn:microsoft.com/office/officeart/2005/8/layout/vList2"/>
    <dgm:cxn modelId="{C99A510A-3A4A-40FB-B958-981FDAF05ED8}" type="presParOf" srcId="{1BD587A8-9D3E-43B7-9F86-9E9462FE2B81}" destId="{E953F1F3-FEFE-4898-AB35-26D34DF5AB17}" srcOrd="1" destOrd="0" presId="urn:microsoft.com/office/officeart/2005/8/layout/vList2"/>
    <dgm:cxn modelId="{A6D4E5F0-3440-4CC5-A8E2-1F25D13F6D3A}" type="presParOf" srcId="{1BD587A8-9D3E-43B7-9F86-9E9462FE2B81}" destId="{5CBB367B-9C40-4F92-8C31-83DFA994EF25}" srcOrd="2" destOrd="0" presId="urn:microsoft.com/office/officeart/2005/8/layout/vList2"/>
    <dgm:cxn modelId="{D6FB630A-9E50-4D69-AB4E-CC264C731AF1}" type="presParOf" srcId="{1BD587A8-9D3E-43B7-9F86-9E9462FE2B81}" destId="{9AE7F440-4AD2-4E9D-A0E1-38F266616FB0}"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B8622A5-D47F-4142-905C-506605D553AC}"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72ED19BC-41A8-4E48-858F-D81377BDD65B}">
      <dgm:prSet/>
      <dgm:spPr/>
      <dgm:t>
        <a:bodyPr/>
        <a:lstStyle/>
        <a:p>
          <a:r>
            <a:rPr lang="en-US" baseline="0" dirty="0"/>
            <a:t>Retention Policy</a:t>
          </a:r>
          <a:endParaRPr lang="en-US" dirty="0"/>
        </a:p>
      </dgm:t>
    </dgm:pt>
    <dgm:pt modelId="{A1DCABA9-CBAF-49BF-AE22-57224440284E}" type="parTrans" cxnId="{12B57735-3328-4BC6-B5FD-A2A5A7F33A5B}">
      <dgm:prSet/>
      <dgm:spPr/>
      <dgm:t>
        <a:bodyPr/>
        <a:lstStyle/>
        <a:p>
          <a:endParaRPr lang="en-US"/>
        </a:p>
      </dgm:t>
    </dgm:pt>
    <dgm:pt modelId="{BE0918B9-741C-40CC-B430-C43229DE9A81}" type="sibTrans" cxnId="{12B57735-3328-4BC6-B5FD-A2A5A7F33A5B}">
      <dgm:prSet/>
      <dgm:spPr/>
      <dgm:t>
        <a:bodyPr/>
        <a:lstStyle/>
        <a:p>
          <a:endParaRPr lang="en-US"/>
        </a:p>
      </dgm:t>
    </dgm:pt>
    <dgm:pt modelId="{A32CAE19-825F-4F7E-A3FD-261DD4BFF73D}">
      <dgm:prSet custT="1"/>
      <dgm:spPr/>
      <dgm:t>
        <a:bodyPr/>
        <a:lstStyle/>
        <a:p>
          <a:r>
            <a:rPr lang="en-US" sz="2000" baseline="0" dirty="0"/>
            <a:t>Size based – Auto cleanup when near max size.</a:t>
          </a:r>
          <a:endParaRPr lang="en-US" sz="2000" dirty="0"/>
        </a:p>
      </dgm:t>
    </dgm:pt>
    <dgm:pt modelId="{E8EDA495-3569-4340-AA77-1C818B538467}" type="parTrans" cxnId="{5F260025-084D-4D4D-8AAD-33051250355F}">
      <dgm:prSet/>
      <dgm:spPr/>
      <dgm:t>
        <a:bodyPr/>
        <a:lstStyle/>
        <a:p>
          <a:endParaRPr lang="en-US"/>
        </a:p>
      </dgm:t>
    </dgm:pt>
    <dgm:pt modelId="{9CACF129-6D18-41F2-B0FF-73C0D46F48FB}" type="sibTrans" cxnId="{5F260025-084D-4D4D-8AAD-33051250355F}">
      <dgm:prSet/>
      <dgm:spPr/>
      <dgm:t>
        <a:bodyPr/>
        <a:lstStyle/>
        <a:p>
          <a:endParaRPr lang="en-US"/>
        </a:p>
      </dgm:t>
    </dgm:pt>
    <dgm:pt modelId="{CD905088-611B-42EA-AE48-0746936E528E}">
      <dgm:prSet custT="1"/>
      <dgm:spPr/>
      <dgm:t>
        <a:bodyPr/>
        <a:lstStyle/>
        <a:p>
          <a:r>
            <a:rPr lang="en-US" sz="2000" baseline="0" dirty="0"/>
            <a:t>Time based – Default 30 days.</a:t>
          </a:r>
          <a:endParaRPr lang="en-US" sz="2000" dirty="0"/>
        </a:p>
      </dgm:t>
    </dgm:pt>
    <dgm:pt modelId="{B3A67881-3199-490A-A237-4D053C14426E}" type="parTrans" cxnId="{80BDD440-93BC-4B21-9FFA-CF6E4C567225}">
      <dgm:prSet/>
      <dgm:spPr/>
      <dgm:t>
        <a:bodyPr/>
        <a:lstStyle/>
        <a:p>
          <a:endParaRPr lang="en-US"/>
        </a:p>
      </dgm:t>
    </dgm:pt>
    <dgm:pt modelId="{0FDB519A-A0D6-4040-B2D1-228C48C438B7}" type="sibTrans" cxnId="{80BDD440-93BC-4B21-9FFA-CF6E4C567225}">
      <dgm:prSet/>
      <dgm:spPr/>
      <dgm:t>
        <a:bodyPr/>
        <a:lstStyle/>
        <a:p>
          <a:endParaRPr lang="en-US"/>
        </a:p>
      </dgm:t>
    </dgm:pt>
    <dgm:pt modelId="{2617B850-54C3-4A7F-9C7A-508876C6A022}">
      <dgm:prSet custT="1"/>
      <dgm:spPr/>
      <dgm:t>
        <a:bodyPr/>
        <a:lstStyle/>
        <a:p>
          <a:r>
            <a:rPr lang="en-US" sz="2000" baseline="0" dirty="0"/>
            <a:t>Max Plans Per Query – Default 200.</a:t>
          </a:r>
          <a:endParaRPr lang="en-US" sz="2000" dirty="0"/>
        </a:p>
      </dgm:t>
    </dgm:pt>
    <dgm:pt modelId="{1DD349D1-C56B-496B-BDA9-FC4106E20D7A}" type="parTrans" cxnId="{1CB956F6-35B5-4CBD-8035-48EEE430CC97}">
      <dgm:prSet/>
      <dgm:spPr/>
      <dgm:t>
        <a:bodyPr/>
        <a:lstStyle/>
        <a:p>
          <a:endParaRPr lang="en-US"/>
        </a:p>
      </dgm:t>
    </dgm:pt>
    <dgm:pt modelId="{550B777F-AE35-4F61-AA3A-6CE5353C1FEB}" type="sibTrans" cxnId="{1CB956F6-35B5-4CBD-8035-48EEE430CC97}">
      <dgm:prSet/>
      <dgm:spPr/>
      <dgm:t>
        <a:bodyPr/>
        <a:lstStyle/>
        <a:p>
          <a:endParaRPr lang="en-US"/>
        </a:p>
      </dgm:t>
    </dgm:pt>
    <dgm:pt modelId="{9BD28136-DBCF-4268-80D2-BDD5FD38DB35}">
      <dgm:prSet custT="1"/>
      <dgm:spPr/>
      <dgm:t>
        <a:bodyPr/>
        <a:lstStyle/>
        <a:p>
          <a:r>
            <a:rPr lang="en-US" sz="2000" baseline="0" dirty="0"/>
            <a:t>Wait Statistics Capture Mode – Default On.</a:t>
          </a:r>
          <a:endParaRPr lang="en-US" sz="2000" dirty="0"/>
        </a:p>
      </dgm:t>
    </dgm:pt>
    <dgm:pt modelId="{90EF7BAD-150A-485C-ADA9-97F87F9BF2D1}" type="parTrans" cxnId="{2D7F1CDD-F305-4B79-875C-92361E19D6F9}">
      <dgm:prSet/>
      <dgm:spPr/>
      <dgm:t>
        <a:bodyPr/>
        <a:lstStyle/>
        <a:p>
          <a:endParaRPr lang="en-US"/>
        </a:p>
      </dgm:t>
    </dgm:pt>
    <dgm:pt modelId="{F375100F-884B-4293-8C71-A1E2DDD58670}" type="sibTrans" cxnId="{2D7F1CDD-F305-4B79-875C-92361E19D6F9}">
      <dgm:prSet/>
      <dgm:spPr/>
      <dgm:t>
        <a:bodyPr/>
        <a:lstStyle/>
        <a:p>
          <a:endParaRPr lang="en-US"/>
        </a:p>
      </dgm:t>
    </dgm:pt>
    <dgm:pt modelId="{60727134-C1F9-4823-888B-AE5574F1C14D}">
      <dgm:prSet/>
      <dgm:spPr/>
      <dgm:t>
        <a:bodyPr/>
        <a:lstStyle/>
        <a:p>
          <a:r>
            <a:rPr lang="en-US" baseline="0"/>
            <a:t>Capture Policy</a:t>
          </a:r>
          <a:endParaRPr lang="en-US"/>
        </a:p>
      </dgm:t>
    </dgm:pt>
    <dgm:pt modelId="{A95F09A9-E9F5-426D-B2DC-B330F4CDF565}" type="parTrans" cxnId="{A03024C1-3C87-40B6-83F8-E65B788A438C}">
      <dgm:prSet/>
      <dgm:spPr/>
      <dgm:t>
        <a:bodyPr/>
        <a:lstStyle/>
        <a:p>
          <a:endParaRPr lang="en-US"/>
        </a:p>
      </dgm:t>
    </dgm:pt>
    <dgm:pt modelId="{ED4D6C0B-6AE7-4557-94F2-9B388E854ABC}" type="sibTrans" cxnId="{A03024C1-3C87-40B6-83F8-E65B788A438C}">
      <dgm:prSet/>
      <dgm:spPr/>
      <dgm:t>
        <a:bodyPr/>
        <a:lstStyle/>
        <a:p>
          <a:endParaRPr lang="en-US"/>
        </a:p>
      </dgm:t>
    </dgm:pt>
    <dgm:pt modelId="{4C1EF136-F23C-4B5B-97BE-D2E21F75C562}">
      <dgm:prSet custT="1"/>
      <dgm:spPr/>
      <dgm:t>
        <a:bodyPr/>
        <a:lstStyle/>
        <a:p>
          <a:r>
            <a:rPr lang="en-US" sz="2000" baseline="0" dirty="0"/>
            <a:t>All – Captures all queries.</a:t>
          </a:r>
          <a:endParaRPr lang="en-US" sz="2000" dirty="0"/>
        </a:p>
      </dgm:t>
    </dgm:pt>
    <dgm:pt modelId="{229D029B-CD0D-4554-956D-A4C302B3E234}" type="parTrans" cxnId="{19032FD8-3C88-4D9E-BA7A-FABC7384A82C}">
      <dgm:prSet/>
      <dgm:spPr/>
      <dgm:t>
        <a:bodyPr/>
        <a:lstStyle/>
        <a:p>
          <a:endParaRPr lang="en-US"/>
        </a:p>
      </dgm:t>
    </dgm:pt>
    <dgm:pt modelId="{BC0DA5B6-22B7-4336-9D45-00944D89D950}" type="sibTrans" cxnId="{19032FD8-3C88-4D9E-BA7A-FABC7384A82C}">
      <dgm:prSet/>
      <dgm:spPr/>
      <dgm:t>
        <a:bodyPr/>
        <a:lstStyle/>
        <a:p>
          <a:endParaRPr lang="en-US"/>
        </a:p>
      </dgm:t>
    </dgm:pt>
    <dgm:pt modelId="{D2D859F2-A963-4B2A-97C1-9E45D617310B}">
      <dgm:prSet custT="1"/>
      <dgm:spPr/>
      <dgm:t>
        <a:bodyPr/>
        <a:lstStyle/>
        <a:p>
          <a:r>
            <a:rPr lang="en-US" sz="2000" baseline="0" dirty="0"/>
            <a:t>Auto – Infrequent queries are ignored.</a:t>
          </a:r>
          <a:endParaRPr lang="en-US" sz="2000" dirty="0"/>
        </a:p>
      </dgm:t>
    </dgm:pt>
    <dgm:pt modelId="{0A685736-C57A-451A-B8A9-D809441F8ABB}" type="parTrans" cxnId="{0A6983EC-FB5D-4078-9A4B-FEC7893F5F3C}">
      <dgm:prSet/>
      <dgm:spPr/>
      <dgm:t>
        <a:bodyPr/>
        <a:lstStyle/>
        <a:p>
          <a:endParaRPr lang="en-US"/>
        </a:p>
      </dgm:t>
    </dgm:pt>
    <dgm:pt modelId="{F4CE8930-62F4-4DDB-8D66-3BC451038835}" type="sibTrans" cxnId="{0A6983EC-FB5D-4078-9A4B-FEC7893F5F3C}">
      <dgm:prSet/>
      <dgm:spPr/>
      <dgm:t>
        <a:bodyPr/>
        <a:lstStyle/>
        <a:p>
          <a:endParaRPr lang="en-US"/>
        </a:p>
      </dgm:t>
    </dgm:pt>
    <dgm:pt modelId="{C43E6677-7A61-4D22-ADF2-6DBE82078AE8}">
      <dgm:prSet custT="1"/>
      <dgm:spPr/>
      <dgm:t>
        <a:bodyPr/>
        <a:lstStyle/>
        <a:p>
          <a:r>
            <a:rPr lang="en-US" sz="2000" baseline="0" dirty="0"/>
            <a:t>None – No queries are captured.</a:t>
          </a:r>
          <a:endParaRPr lang="en-US" sz="2000" dirty="0"/>
        </a:p>
      </dgm:t>
    </dgm:pt>
    <dgm:pt modelId="{1458391D-8938-4D8C-8E97-EAD199B209F0}" type="parTrans" cxnId="{BD461629-C61D-45BE-9966-AA3899A477B9}">
      <dgm:prSet/>
      <dgm:spPr/>
      <dgm:t>
        <a:bodyPr/>
        <a:lstStyle/>
        <a:p>
          <a:endParaRPr lang="en-US"/>
        </a:p>
      </dgm:t>
    </dgm:pt>
    <dgm:pt modelId="{6F49BE19-DAA8-4444-BB7F-8A3252D773D0}" type="sibTrans" cxnId="{BD461629-C61D-45BE-9966-AA3899A477B9}">
      <dgm:prSet/>
      <dgm:spPr/>
      <dgm:t>
        <a:bodyPr/>
        <a:lstStyle/>
        <a:p>
          <a:endParaRPr lang="en-US"/>
        </a:p>
      </dgm:t>
    </dgm:pt>
    <dgm:pt modelId="{231E844C-8D60-4A42-9C88-A824598A3842}">
      <dgm:prSet custT="1"/>
      <dgm:spPr/>
      <dgm:t>
        <a:bodyPr/>
        <a:lstStyle/>
        <a:p>
          <a:r>
            <a:rPr lang="en-US" sz="2000" baseline="0" dirty="0"/>
            <a:t>Custom – Advanced Options</a:t>
          </a:r>
          <a:endParaRPr lang="en-US" sz="2000" dirty="0"/>
        </a:p>
      </dgm:t>
    </dgm:pt>
    <dgm:pt modelId="{A1BF31BB-74CC-415C-A126-3FDC41BCFCBD}" type="parTrans" cxnId="{BDD778A4-C27A-4078-98A2-D9D209CEB7D5}">
      <dgm:prSet/>
      <dgm:spPr/>
      <dgm:t>
        <a:bodyPr/>
        <a:lstStyle/>
        <a:p>
          <a:endParaRPr lang="en-US"/>
        </a:p>
      </dgm:t>
    </dgm:pt>
    <dgm:pt modelId="{30D74F57-2ECC-4068-8BF0-BE22D00DF2F5}" type="sibTrans" cxnId="{BDD778A4-C27A-4078-98A2-D9D209CEB7D5}">
      <dgm:prSet/>
      <dgm:spPr/>
      <dgm:t>
        <a:bodyPr/>
        <a:lstStyle/>
        <a:p>
          <a:endParaRPr lang="en-US"/>
        </a:p>
      </dgm:t>
    </dgm:pt>
    <dgm:pt modelId="{FF8921B8-4B9E-46F5-A780-7DA49B538378}" type="pres">
      <dgm:prSet presAssocID="{CB8622A5-D47F-4142-905C-506605D553AC}" presName="Name0" presStyleCnt="0">
        <dgm:presLayoutVars>
          <dgm:dir/>
          <dgm:animLvl val="lvl"/>
          <dgm:resizeHandles val="exact"/>
        </dgm:presLayoutVars>
      </dgm:prSet>
      <dgm:spPr/>
    </dgm:pt>
    <dgm:pt modelId="{318C355C-F229-495A-AD23-0968098E97C9}" type="pres">
      <dgm:prSet presAssocID="{72ED19BC-41A8-4E48-858F-D81377BDD65B}" presName="composite" presStyleCnt="0"/>
      <dgm:spPr/>
    </dgm:pt>
    <dgm:pt modelId="{EDE250F2-0EE5-4E31-8B03-3788671D7093}" type="pres">
      <dgm:prSet presAssocID="{72ED19BC-41A8-4E48-858F-D81377BDD65B}" presName="parTx" presStyleLbl="alignNode1" presStyleIdx="0" presStyleCnt="2" custScaleX="107611">
        <dgm:presLayoutVars>
          <dgm:chMax val="0"/>
          <dgm:chPref val="0"/>
          <dgm:bulletEnabled val="1"/>
        </dgm:presLayoutVars>
      </dgm:prSet>
      <dgm:spPr/>
    </dgm:pt>
    <dgm:pt modelId="{9ADD3EE3-4A3D-4149-A16D-ADFF510313FA}" type="pres">
      <dgm:prSet presAssocID="{72ED19BC-41A8-4E48-858F-D81377BDD65B}" presName="desTx" presStyleLbl="alignAccFollowNode1" presStyleIdx="0" presStyleCnt="2" custScaleX="107611">
        <dgm:presLayoutVars>
          <dgm:bulletEnabled val="1"/>
        </dgm:presLayoutVars>
      </dgm:prSet>
      <dgm:spPr/>
    </dgm:pt>
    <dgm:pt modelId="{D08176D7-953C-4D90-832A-5EABAC07CFD3}" type="pres">
      <dgm:prSet presAssocID="{BE0918B9-741C-40CC-B430-C43229DE9A81}" presName="space" presStyleCnt="0"/>
      <dgm:spPr/>
    </dgm:pt>
    <dgm:pt modelId="{F7A8CF18-7A78-4B7A-B1C7-9C89BC6074E1}" type="pres">
      <dgm:prSet presAssocID="{60727134-C1F9-4823-888B-AE5574F1C14D}" presName="composite" presStyleCnt="0"/>
      <dgm:spPr/>
    </dgm:pt>
    <dgm:pt modelId="{C28A80A7-C690-4F8A-A59B-842D2D7CD65A}" type="pres">
      <dgm:prSet presAssocID="{60727134-C1F9-4823-888B-AE5574F1C14D}" presName="parTx" presStyleLbl="alignNode1" presStyleIdx="1" presStyleCnt="2">
        <dgm:presLayoutVars>
          <dgm:chMax val="0"/>
          <dgm:chPref val="0"/>
          <dgm:bulletEnabled val="1"/>
        </dgm:presLayoutVars>
      </dgm:prSet>
      <dgm:spPr/>
    </dgm:pt>
    <dgm:pt modelId="{03F4D7B7-D2D1-4E13-AAB5-A6561E370CCC}" type="pres">
      <dgm:prSet presAssocID="{60727134-C1F9-4823-888B-AE5574F1C14D}" presName="desTx" presStyleLbl="alignAccFollowNode1" presStyleIdx="1" presStyleCnt="2">
        <dgm:presLayoutVars>
          <dgm:bulletEnabled val="1"/>
        </dgm:presLayoutVars>
      </dgm:prSet>
      <dgm:spPr/>
    </dgm:pt>
  </dgm:ptLst>
  <dgm:cxnLst>
    <dgm:cxn modelId="{50EC8708-C437-43F3-AC07-6CB1D65407D2}" type="presOf" srcId="{4C1EF136-F23C-4B5B-97BE-D2E21F75C562}" destId="{03F4D7B7-D2D1-4E13-AAB5-A6561E370CCC}" srcOrd="0" destOrd="0" presId="urn:microsoft.com/office/officeart/2005/8/layout/hList1"/>
    <dgm:cxn modelId="{916FD810-E2A7-4DE5-869E-B056D5923993}" type="presOf" srcId="{CD905088-611B-42EA-AE48-0746936E528E}" destId="{9ADD3EE3-4A3D-4149-A16D-ADFF510313FA}" srcOrd="0" destOrd="1" presId="urn:microsoft.com/office/officeart/2005/8/layout/hList1"/>
    <dgm:cxn modelId="{5F260025-084D-4D4D-8AAD-33051250355F}" srcId="{72ED19BC-41A8-4E48-858F-D81377BDD65B}" destId="{A32CAE19-825F-4F7E-A3FD-261DD4BFF73D}" srcOrd="0" destOrd="0" parTransId="{E8EDA495-3569-4340-AA77-1C818B538467}" sibTransId="{9CACF129-6D18-41F2-B0FF-73C0D46F48FB}"/>
    <dgm:cxn modelId="{3EC1AE26-DD78-4815-9B9F-F77D5A6F072B}" type="presOf" srcId="{231E844C-8D60-4A42-9C88-A824598A3842}" destId="{03F4D7B7-D2D1-4E13-AAB5-A6561E370CCC}" srcOrd="0" destOrd="3" presId="urn:microsoft.com/office/officeart/2005/8/layout/hList1"/>
    <dgm:cxn modelId="{BD461629-C61D-45BE-9966-AA3899A477B9}" srcId="{60727134-C1F9-4823-888B-AE5574F1C14D}" destId="{C43E6677-7A61-4D22-ADF2-6DBE82078AE8}" srcOrd="2" destOrd="0" parTransId="{1458391D-8938-4D8C-8E97-EAD199B209F0}" sibTransId="{6F49BE19-DAA8-4444-BB7F-8A3252D773D0}"/>
    <dgm:cxn modelId="{4378C42B-F33E-413D-89B3-208A445EFA8D}" type="presOf" srcId="{D2D859F2-A963-4B2A-97C1-9E45D617310B}" destId="{03F4D7B7-D2D1-4E13-AAB5-A6561E370CCC}" srcOrd="0" destOrd="1" presId="urn:microsoft.com/office/officeart/2005/8/layout/hList1"/>
    <dgm:cxn modelId="{12B57735-3328-4BC6-B5FD-A2A5A7F33A5B}" srcId="{CB8622A5-D47F-4142-905C-506605D553AC}" destId="{72ED19BC-41A8-4E48-858F-D81377BDD65B}" srcOrd="0" destOrd="0" parTransId="{A1DCABA9-CBAF-49BF-AE22-57224440284E}" sibTransId="{BE0918B9-741C-40CC-B430-C43229DE9A81}"/>
    <dgm:cxn modelId="{F8D0413D-54FF-4BF9-A287-6ADF701FA16B}" type="presOf" srcId="{CB8622A5-D47F-4142-905C-506605D553AC}" destId="{FF8921B8-4B9E-46F5-A780-7DA49B538378}" srcOrd="0" destOrd="0" presId="urn:microsoft.com/office/officeart/2005/8/layout/hList1"/>
    <dgm:cxn modelId="{7AD0FB3F-8A99-4B55-8463-53C91B0E809C}" type="presOf" srcId="{2617B850-54C3-4A7F-9C7A-508876C6A022}" destId="{9ADD3EE3-4A3D-4149-A16D-ADFF510313FA}" srcOrd="0" destOrd="2" presId="urn:microsoft.com/office/officeart/2005/8/layout/hList1"/>
    <dgm:cxn modelId="{80BDD440-93BC-4B21-9FFA-CF6E4C567225}" srcId="{72ED19BC-41A8-4E48-858F-D81377BDD65B}" destId="{CD905088-611B-42EA-AE48-0746936E528E}" srcOrd="1" destOrd="0" parTransId="{B3A67881-3199-490A-A237-4D053C14426E}" sibTransId="{0FDB519A-A0D6-4040-B2D1-228C48C438B7}"/>
    <dgm:cxn modelId="{ABDC485B-DDE7-4D3E-9A41-114CA1E8BDD1}" type="presOf" srcId="{60727134-C1F9-4823-888B-AE5574F1C14D}" destId="{C28A80A7-C690-4F8A-A59B-842D2D7CD65A}" srcOrd="0" destOrd="0" presId="urn:microsoft.com/office/officeart/2005/8/layout/hList1"/>
    <dgm:cxn modelId="{DA83E643-0731-44BF-9A71-0D94F6F524C7}" type="presOf" srcId="{C43E6677-7A61-4D22-ADF2-6DBE82078AE8}" destId="{03F4D7B7-D2D1-4E13-AAB5-A6561E370CCC}" srcOrd="0" destOrd="2" presId="urn:microsoft.com/office/officeart/2005/8/layout/hList1"/>
    <dgm:cxn modelId="{19748B4C-89F1-41E6-B6E1-49AE733F6722}" type="presOf" srcId="{72ED19BC-41A8-4E48-858F-D81377BDD65B}" destId="{EDE250F2-0EE5-4E31-8B03-3788671D7093}" srcOrd="0" destOrd="0" presId="urn:microsoft.com/office/officeart/2005/8/layout/hList1"/>
    <dgm:cxn modelId="{BDD778A4-C27A-4078-98A2-D9D209CEB7D5}" srcId="{60727134-C1F9-4823-888B-AE5574F1C14D}" destId="{231E844C-8D60-4A42-9C88-A824598A3842}" srcOrd="3" destOrd="0" parTransId="{A1BF31BB-74CC-415C-A126-3FDC41BCFCBD}" sibTransId="{30D74F57-2ECC-4068-8BF0-BE22D00DF2F5}"/>
    <dgm:cxn modelId="{A03024C1-3C87-40B6-83F8-E65B788A438C}" srcId="{CB8622A5-D47F-4142-905C-506605D553AC}" destId="{60727134-C1F9-4823-888B-AE5574F1C14D}" srcOrd="1" destOrd="0" parTransId="{A95F09A9-E9F5-426D-B2DC-B330F4CDF565}" sibTransId="{ED4D6C0B-6AE7-4557-94F2-9B388E854ABC}"/>
    <dgm:cxn modelId="{27A121C6-48BA-4022-93C5-D26DF1B499F9}" type="presOf" srcId="{9BD28136-DBCF-4268-80D2-BDD5FD38DB35}" destId="{9ADD3EE3-4A3D-4149-A16D-ADFF510313FA}" srcOrd="0" destOrd="3" presId="urn:microsoft.com/office/officeart/2005/8/layout/hList1"/>
    <dgm:cxn modelId="{19032FD8-3C88-4D9E-BA7A-FABC7384A82C}" srcId="{60727134-C1F9-4823-888B-AE5574F1C14D}" destId="{4C1EF136-F23C-4B5B-97BE-D2E21F75C562}" srcOrd="0" destOrd="0" parTransId="{229D029B-CD0D-4554-956D-A4C302B3E234}" sibTransId="{BC0DA5B6-22B7-4336-9D45-00944D89D950}"/>
    <dgm:cxn modelId="{2D7F1CDD-F305-4B79-875C-92361E19D6F9}" srcId="{72ED19BC-41A8-4E48-858F-D81377BDD65B}" destId="{9BD28136-DBCF-4268-80D2-BDD5FD38DB35}" srcOrd="3" destOrd="0" parTransId="{90EF7BAD-150A-485C-ADA9-97F87F9BF2D1}" sibTransId="{F375100F-884B-4293-8C71-A1E2DDD58670}"/>
    <dgm:cxn modelId="{0A6983EC-FB5D-4078-9A4B-FEC7893F5F3C}" srcId="{60727134-C1F9-4823-888B-AE5574F1C14D}" destId="{D2D859F2-A963-4B2A-97C1-9E45D617310B}" srcOrd="1" destOrd="0" parTransId="{0A685736-C57A-451A-B8A9-D809441F8ABB}" sibTransId="{F4CE8930-62F4-4DDB-8D66-3BC451038835}"/>
    <dgm:cxn modelId="{64FCC5ED-C896-433B-B83B-ED50CC8088F6}" type="presOf" srcId="{A32CAE19-825F-4F7E-A3FD-261DD4BFF73D}" destId="{9ADD3EE3-4A3D-4149-A16D-ADFF510313FA}" srcOrd="0" destOrd="0" presId="urn:microsoft.com/office/officeart/2005/8/layout/hList1"/>
    <dgm:cxn modelId="{1CB956F6-35B5-4CBD-8035-48EEE430CC97}" srcId="{72ED19BC-41A8-4E48-858F-D81377BDD65B}" destId="{2617B850-54C3-4A7F-9C7A-508876C6A022}" srcOrd="2" destOrd="0" parTransId="{1DD349D1-C56B-496B-BDA9-FC4106E20D7A}" sibTransId="{550B777F-AE35-4F61-AA3A-6CE5353C1FEB}"/>
    <dgm:cxn modelId="{5BE1B7E5-7360-43FC-A612-FF827BDD5B7C}" type="presParOf" srcId="{FF8921B8-4B9E-46F5-A780-7DA49B538378}" destId="{318C355C-F229-495A-AD23-0968098E97C9}" srcOrd="0" destOrd="0" presId="urn:microsoft.com/office/officeart/2005/8/layout/hList1"/>
    <dgm:cxn modelId="{43EC618A-8F18-4873-A79C-4889C1E54CC0}" type="presParOf" srcId="{318C355C-F229-495A-AD23-0968098E97C9}" destId="{EDE250F2-0EE5-4E31-8B03-3788671D7093}" srcOrd="0" destOrd="0" presId="urn:microsoft.com/office/officeart/2005/8/layout/hList1"/>
    <dgm:cxn modelId="{E120B9CC-3EB5-4942-B7CA-04CC55526BA4}" type="presParOf" srcId="{318C355C-F229-495A-AD23-0968098E97C9}" destId="{9ADD3EE3-4A3D-4149-A16D-ADFF510313FA}" srcOrd="1" destOrd="0" presId="urn:microsoft.com/office/officeart/2005/8/layout/hList1"/>
    <dgm:cxn modelId="{2B6BBFB5-4BC6-4CD5-A6E2-B4DE9A9D2825}" type="presParOf" srcId="{FF8921B8-4B9E-46F5-A780-7DA49B538378}" destId="{D08176D7-953C-4D90-832A-5EABAC07CFD3}" srcOrd="1" destOrd="0" presId="urn:microsoft.com/office/officeart/2005/8/layout/hList1"/>
    <dgm:cxn modelId="{3BE4B918-D9A5-4D1D-BA55-E32ECEC534B5}" type="presParOf" srcId="{FF8921B8-4B9E-46F5-A780-7DA49B538378}" destId="{F7A8CF18-7A78-4B7A-B1C7-9C89BC6074E1}" srcOrd="2" destOrd="0" presId="urn:microsoft.com/office/officeart/2005/8/layout/hList1"/>
    <dgm:cxn modelId="{13814433-7519-438B-A70B-030042A243B3}" type="presParOf" srcId="{F7A8CF18-7A78-4B7A-B1C7-9C89BC6074E1}" destId="{C28A80A7-C690-4F8A-A59B-842D2D7CD65A}" srcOrd="0" destOrd="0" presId="urn:microsoft.com/office/officeart/2005/8/layout/hList1"/>
    <dgm:cxn modelId="{5DBADAF3-EA3C-4BC1-AA9E-128BDD525BAB}" type="presParOf" srcId="{F7A8CF18-7A78-4B7A-B1C7-9C89BC6074E1}" destId="{03F4D7B7-D2D1-4E13-AAB5-A6561E370CC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kumimoji="0" lang="en-US" b="0" i="0" u="none" strike="noStrike" cap="none" spc="0" normalizeH="0" baseline="0" noProof="0" dirty="0">
              <a:ln>
                <a:noFill/>
              </a:ln>
              <a:solidFill>
                <a:srgbClr val="FFFFFF"/>
              </a:solidFill>
              <a:effectLst/>
              <a:uLnTx/>
              <a:uFillTx/>
              <a:latin typeface="Segoe UI"/>
              <a:cs typeface="Segoe UI"/>
            </a:rPr>
            <a:t>What feature should be enabled on your Azure SQL Database before you can use Query Performance Insight?</a:t>
          </a:r>
          <a:endParaRPr lang="en-US" dirty="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58B1B991-212A-410E-8681-A6D95915757E}">
      <dgm:prSet/>
      <dgm:spPr/>
      <dgm:t>
        <a:bodyPr/>
        <a:lstStyle/>
        <a:p>
          <a:r>
            <a:rPr lang="en-US" dirty="0">
              <a:solidFill>
                <a:srgbClr val="FFFFFF"/>
              </a:solidFill>
              <a:cs typeface="Segoe UI"/>
            </a:rPr>
            <a:t>How can you view individual query details?</a:t>
          </a:r>
          <a:endParaRPr lang="en-US" dirty="0"/>
        </a:p>
      </dgm:t>
    </dgm:pt>
    <dgm:pt modelId="{08EE05D8-057C-42F7-B3DB-54849EF3F801}" type="parTrans" cxnId="{8DCF3101-190D-48D2-8E3B-9B578D82E1A5}">
      <dgm:prSet/>
      <dgm:spPr/>
      <dgm:t>
        <a:bodyPr/>
        <a:lstStyle/>
        <a:p>
          <a:endParaRPr lang="en-US"/>
        </a:p>
      </dgm:t>
    </dgm:pt>
    <dgm:pt modelId="{AD379122-9DA8-482B-A8C0-ABBC422BBC25}" type="sibTrans" cxnId="{8DCF3101-190D-48D2-8E3B-9B578D82E1A5}">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E922B38C-D007-46D8-9A79-C8E951BC8385}" type="pres">
      <dgm:prSet presAssocID="{58B1B991-212A-410E-8681-A6D95915757E}" presName="parentText" presStyleLbl="node1" presStyleIdx="1" presStyleCnt="2">
        <dgm:presLayoutVars>
          <dgm:chMax val="0"/>
          <dgm:bulletEnabled val="1"/>
        </dgm:presLayoutVars>
      </dgm:prSet>
      <dgm:spPr/>
    </dgm:pt>
  </dgm:ptLst>
  <dgm:cxnLst>
    <dgm:cxn modelId="{8DCF3101-190D-48D2-8E3B-9B578D82E1A5}" srcId="{15A7774C-B622-4F48-8F7B-AF1AAB74E997}" destId="{58B1B991-212A-410E-8681-A6D95915757E}" srcOrd="1" destOrd="0" parTransId="{08EE05D8-057C-42F7-B3DB-54849EF3F801}" sibTransId="{AD379122-9DA8-482B-A8C0-ABBC422BBC25}"/>
    <dgm:cxn modelId="{36D7E407-3150-4513-85B0-C20EDB658460}" type="presOf" srcId="{58B1B991-212A-410E-8681-A6D95915757E}" destId="{E922B38C-D007-46D8-9A79-C8E951BC8385}" srcOrd="0" destOrd="0" presId="urn:microsoft.com/office/officeart/2005/8/layout/vList2"/>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E82A84E-B3D8-4926-A1BA-5048D0113830}" type="presParOf" srcId="{97400BD5-14CE-4761-8A6A-64BC46D23158}" destId="{E922B38C-D007-46D8-9A79-C8E951BC8385}"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A6CD9E-3474-488A-AE30-A03CBDBFBD6A}">
      <dsp:nvSpPr>
        <dsp:cNvPr id="0" name=""/>
        <dsp:cNvSpPr/>
      </dsp:nvSpPr>
      <dsp:spPr>
        <a:xfrm>
          <a:off x="723902" y="224"/>
          <a:ext cx="2914549" cy="174872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Database Connectivity</a:t>
          </a:r>
        </a:p>
      </dsp:txBody>
      <dsp:txXfrm>
        <a:off x="723902" y="224"/>
        <a:ext cx="2914549" cy="1748729"/>
      </dsp:txXfrm>
    </dsp:sp>
    <dsp:sp modelId="{D3DDDFFF-1095-463D-8650-0C7EEDE1340B}">
      <dsp:nvSpPr>
        <dsp:cNvPr id="0" name=""/>
        <dsp:cNvSpPr/>
      </dsp:nvSpPr>
      <dsp:spPr>
        <a:xfrm>
          <a:off x="3929906" y="224"/>
          <a:ext cx="2914549" cy="174872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High DTU Percentage</a:t>
          </a:r>
        </a:p>
      </dsp:txBody>
      <dsp:txXfrm>
        <a:off x="3929906" y="224"/>
        <a:ext cx="2914549" cy="1748729"/>
      </dsp:txXfrm>
    </dsp:sp>
    <dsp:sp modelId="{32DFFDF1-5027-4F59-A3CB-6FD39BDA3403}">
      <dsp:nvSpPr>
        <dsp:cNvPr id="0" name=""/>
        <dsp:cNvSpPr/>
      </dsp:nvSpPr>
      <dsp:spPr>
        <a:xfrm>
          <a:off x="7135910" y="224"/>
          <a:ext cx="2914549" cy="174872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Query Timeouts</a:t>
          </a:r>
        </a:p>
      </dsp:txBody>
      <dsp:txXfrm>
        <a:off x="7135910" y="224"/>
        <a:ext cx="2914549" cy="1748729"/>
      </dsp:txXfrm>
    </dsp:sp>
    <dsp:sp modelId="{7A75BAC4-91C4-4408-9E1E-A7050CEAFEA7}">
      <dsp:nvSpPr>
        <dsp:cNvPr id="0" name=""/>
        <dsp:cNvSpPr/>
      </dsp:nvSpPr>
      <dsp:spPr>
        <a:xfrm>
          <a:off x="723902" y="2040408"/>
          <a:ext cx="2914549" cy="174872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Deadlocks</a:t>
          </a:r>
        </a:p>
      </dsp:txBody>
      <dsp:txXfrm>
        <a:off x="723902" y="2040408"/>
        <a:ext cx="2914549" cy="1748729"/>
      </dsp:txXfrm>
    </dsp:sp>
    <dsp:sp modelId="{353B7A8F-2B4E-44F9-9459-7DCDD549ADA8}">
      <dsp:nvSpPr>
        <dsp:cNvPr id="0" name=""/>
        <dsp:cNvSpPr/>
      </dsp:nvSpPr>
      <dsp:spPr>
        <a:xfrm>
          <a:off x="3929906" y="2040408"/>
          <a:ext cx="2914549" cy="174872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Database Storage consumption</a:t>
          </a:r>
        </a:p>
      </dsp:txBody>
      <dsp:txXfrm>
        <a:off x="3929906" y="2040408"/>
        <a:ext cx="2914549" cy="1748729"/>
      </dsp:txXfrm>
    </dsp:sp>
    <dsp:sp modelId="{867072E5-4A67-4D1D-8267-B35E1DF1348E}">
      <dsp:nvSpPr>
        <dsp:cNvPr id="0" name=""/>
        <dsp:cNvSpPr/>
      </dsp:nvSpPr>
      <dsp:spPr>
        <a:xfrm>
          <a:off x="7135910" y="2040408"/>
          <a:ext cx="2914549" cy="174872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Slow Queries</a:t>
          </a:r>
        </a:p>
      </dsp:txBody>
      <dsp:txXfrm>
        <a:off x="7135910" y="2040408"/>
        <a:ext cx="2914549" cy="174872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9C5CDD-13D0-4971-9C2E-035E71F9BA49}">
      <dsp:nvSpPr>
        <dsp:cNvPr id="0" name=""/>
        <dsp:cNvSpPr/>
      </dsp:nvSpPr>
      <dsp:spPr>
        <a:xfrm>
          <a:off x="0" y="134489"/>
          <a:ext cx="3867960" cy="4890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GB" sz="1900" b="1" kern="1200" dirty="0"/>
            <a:t>Force Last Good Plan:</a:t>
          </a:r>
          <a:r>
            <a:rPr lang="en-GB" sz="1900" kern="1200" dirty="0"/>
            <a:t> </a:t>
          </a:r>
          <a:endParaRPr lang="en-US" sz="1900" kern="1200" dirty="0"/>
        </a:p>
      </dsp:txBody>
      <dsp:txXfrm>
        <a:off x="23874" y="158363"/>
        <a:ext cx="3820212" cy="441312"/>
      </dsp:txXfrm>
    </dsp:sp>
    <dsp:sp modelId="{3332498D-B1B4-4BEE-8E10-B14EBD545110}">
      <dsp:nvSpPr>
        <dsp:cNvPr id="0" name=""/>
        <dsp:cNvSpPr/>
      </dsp:nvSpPr>
      <dsp:spPr>
        <a:xfrm>
          <a:off x="0" y="623550"/>
          <a:ext cx="3867960" cy="1199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80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GB" sz="1500" kern="1200" dirty="0"/>
            <a:t>Identifies regressed queries due to bad plan and replaces the bad plan with last Good Plan, validates performance improvements and reverts the change if performance does not improve.</a:t>
          </a:r>
          <a:endParaRPr lang="en-US" sz="1500" kern="1200" dirty="0"/>
        </a:p>
      </dsp:txBody>
      <dsp:txXfrm>
        <a:off x="0" y="623550"/>
        <a:ext cx="3867960" cy="1199565"/>
      </dsp:txXfrm>
    </dsp:sp>
    <dsp:sp modelId="{24F84A27-EB51-4E4A-967C-A571E610E2AB}">
      <dsp:nvSpPr>
        <dsp:cNvPr id="0" name=""/>
        <dsp:cNvSpPr/>
      </dsp:nvSpPr>
      <dsp:spPr>
        <a:xfrm>
          <a:off x="0" y="1823115"/>
          <a:ext cx="3867960" cy="4890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GB" sz="1900" b="1" kern="1200"/>
            <a:t>Create Index:</a:t>
          </a:r>
          <a:r>
            <a:rPr lang="en-GB" sz="1900" kern="1200"/>
            <a:t> </a:t>
          </a:r>
          <a:endParaRPr lang="en-US" sz="1900" kern="1200" dirty="0"/>
        </a:p>
      </dsp:txBody>
      <dsp:txXfrm>
        <a:off x="23874" y="1846989"/>
        <a:ext cx="3820212" cy="441312"/>
      </dsp:txXfrm>
    </dsp:sp>
    <dsp:sp modelId="{70F6EA63-FFDB-4F82-8FF1-8F4E36165235}">
      <dsp:nvSpPr>
        <dsp:cNvPr id="0" name=""/>
        <dsp:cNvSpPr/>
      </dsp:nvSpPr>
      <dsp:spPr>
        <a:xfrm>
          <a:off x="0" y="2312174"/>
          <a:ext cx="3867960" cy="7472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80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GB" sz="1500" kern="1200"/>
            <a:t>Identifies and creates Indexes, validates performance improvements and reverts the change if performance degrades.</a:t>
          </a:r>
          <a:endParaRPr lang="en-US" sz="1500" kern="1200"/>
        </a:p>
      </dsp:txBody>
      <dsp:txXfrm>
        <a:off x="0" y="2312174"/>
        <a:ext cx="3867960" cy="747270"/>
      </dsp:txXfrm>
    </dsp:sp>
    <dsp:sp modelId="{C4AB264D-B8D8-44DC-B1B4-A90DCA65B562}">
      <dsp:nvSpPr>
        <dsp:cNvPr id="0" name=""/>
        <dsp:cNvSpPr/>
      </dsp:nvSpPr>
      <dsp:spPr>
        <a:xfrm>
          <a:off x="0" y="3059445"/>
          <a:ext cx="3867960" cy="4890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GB" sz="1900" b="1" kern="1200" dirty="0"/>
            <a:t>Drop Index:</a:t>
          </a:r>
          <a:endParaRPr lang="en-US" sz="1900" kern="1200" dirty="0"/>
        </a:p>
      </dsp:txBody>
      <dsp:txXfrm>
        <a:off x="23874" y="3083319"/>
        <a:ext cx="3820212" cy="441312"/>
      </dsp:txXfrm>
    </dsp:sp>
    <dsp:sp modelId="{1F25FBA9-B4C3-49F7-A227-0A2C7D63ADB3}">
      <dsp:nvSpPr>
        <dsp:cNvPr id="0" name=""/>
        <dsp:cNvSpPr/>
      </dsp:nvSpPr>
      <dsp:spPr>
        <a:xfrm>
          <a:off x="0" y="3548505"/>
          <a:ext cx="3867960" cy="9635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808"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GB" sz="1500" kern="1200" dirty="0"/>
            <a:t>Identifies and drops unused Indexes, validates performance improvements and reverts the change if performance degrades.</a:t>
          </a:r>
          <a:endParaRPr lang="en-US" sz="1500" kern="1200" dirty="0"/>
        </a:p>
      </dsp:txBody>
      <dsp:txXfrm>
        <a:off x="0" y="3548505"/>
        <a:ext cx="3867960" cy="96358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BCCF4-1723-41CF-89CA-6F0F876FF2B2}">
      <dsp:nvSpPr>
        <dsp:cNvPr id="0" name=""/>
        <dsp:cNvSpPr/>
      </dsp:nvSpPr>
      <dsp:spPr>
        <a:xfrm>
          <a:off x="3146438" y="1061047"/>
          <a:ext cx="691576" cy="91440"/>
        </a:xfrm>
        <a:custGeom>
          <a:avLst/>
          <a:gdLst/>
          <a:ahLst/>
          <a:cxnLst/>
          <a:rect l="0" t="0" r="0" b="0"/>
          <a:pathLst>
            <a:path>
              <a:moveTo>
                <a:pt x="0" y="45720"/>
              </a:moveTo>
              <a:lnTo>
                <a:pt x="691576"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474171" y="1103156"/>
        <a:ext cx="36108" cy="7221"/>
      </dsp:txXfrm>
    </dsp:sp>
    <dsp:sp modelId="{9F095C3C-B302-496C-9DF7-08715002A7AF}">
      <dsp:nvSpPr>
        <dsp:cNvPr id="0" name=""/>
        <dsp:cNvSpPr/>
      </dsp:nvSpPr>
      <dsp:spPr>
        <a:xfrm>
          <a:off x="8341" y="164798"/>
          <a:ext cx="3139897" cy="18839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QL Database monitors the queries</a:t>
          </a:r>
          <a:endParaRPr lang="en-US" sz="2400" kern="1200" dirty="0"/>
        </a:p>
      </dsp:txBody>
      <dsp:txXfrm>
        <a:off x="8341" y="164798"/>
        <a:ext cx="3139897" cy="1883938"/>
      </dsp:txXfrm>
    </dsp:sp>
    <dsp:sp modelId="{2DD5F3A0-AD9F-4311-866C-13B3B8723025}">
      <dsp:nvSpPr>
        <dsp:cNvPr id="0" name=""/>
        <dsp:cNvSpPr/>
      </dsp:nvSpPr>
      <dsp:spPr>
        <a:xfrm>
          <a:off x="7008511" y="1061047"/>
          <a:ext cx="691576" cy="91440"/>
        </a:xfrm>
        <a:custGeom>
          <a:avLst/>
          <a:gdLst/>
          <a:ahLst/>
          <a:cxnLst/>
          <a:rect l="0" t="0" r="0" b="0"/>
          <a:pathLst>
            <a:path>
              <a:moveTo>
                <a:pt x="0" y="45720"/>
              </a:moveTo>
              <a:lnTo>
                <a:pt x="691576"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336245" y="1103156"/>
        <a:ext cx="36108" cy="7221"/>
      </dsp:txXfrm>
    </dsp:sp>
    <dsp:sp modelId="{EA8C42DE-E869-45C7-A16E-7B2B7F20D740}">
      <dsp:nvSpPr>
        <dsp:cNvPr id="0" name=""/>
        <dsp:cNvSpPr/>
      </dsp:nvSpPr>
      <dsp:spPr>
        <a:xfrm>
          <a:off x="3870414" y="164798"/>
          <a:ext cx="3139897" cy="18839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dentifies indexes that could improve performance</a:t>
          </a:r>
          <a:endParaRPr lang="en-US" sz="2400" kern="1200" dirty="0"/>
        </a:p>
      </dsp:txBody>
      <dsp:txXfrm>
        <a:off x="3870414" y="164798"/>
        <a:ext cx="3139897" cy="1883938"/>
      </dsp:txXfrm>
    </dsp:sp>
    <dsp:sp modelId="{57561826-B323-4FD9-82DA-827D89D59AC0}">
      <dsp:nvSpPr>
        <dsp:cNvPr id="0" name=""/>
        <dsp:cNvSpPr/>
      </dsp:nvSpPr>
      <dsp:spPr>
        <a:xfrm>
          <a:off x="1578289" y="2046936"/>
          <a:ext cx="7724146" cy="691576"/>
        </a:xfrm>
        <a:custGeom>
          <a:avLst/>
          <a:gdLst/>
          <a:ahLst/>
          <a:cxnLst/>
          <a:rect l="0" t="0" r="0" b="0"/>
          <a:pathLst>
            <a:path>
              <a:moveTo>
                <a:pt x="7724146" y="0"/>
              </a:moveTo>
              <a:lnTo>
                <a:pt x="7724146" y="362888"/>
              </a:lnTo>
              <a:lnTo>
                <a:pt x="0" y="362888"/>
              </a:lnTo>
              <a:lnTo>
                <a:pt x="0" y="691576"/>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246417" y="2389114"/>
        <a:ext cx="387891" cy="7221"/>
      </dsp:txXfrm>
    </dsp:sp>
    <dsp:sp modelId="{56F5725E-E259-4A56-BECF-6198FCECC981}">
      <dsp:nvSpPr>
        <dsp:cNvPr id="0" name=""/>
        <dsp:cNvSpPr/>
      </dsp:nvSpPr>
      <dsp:spPr>
        <a:xfrm>
          <a:off x="7732487" y="164798"/>
          <a:ext cx="3139897" cy="18839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reates an index recommendation (high, medium or low)</a:t>
          </a:r>
          <a:endParaRPr lang="en-US" sz="2400" kern="1200" dirty="0"/>
        </a:p>
      </dsp:txBody>
      <dsp:txXfrm>
        <a:off x="7732487" y="164798"/>
        <a:ext cx="3139897" cy="1883938"/>
      </dsp:txXfrm>
    </dsp:sp>
    <dsp:sp modelId="{ECB7420A-83B5-4BF4-B80B-B37B00F8D375}">
      <dsp:nvSpPr>
        <dsp:cNvPr id="0" name=""/>
        <dsp:cNvSpPr/>
      </dsp:nvSpPr>
      <dsp:spPr>
        <a:xfrm>
          <a:off x="3146438" y="3667162"/>
          <a:ext cx="691576" cy="91440"/>
        </a:xfrm>
        <a:custGeom>
          <a:avLst/>
          <a:gdLst/>
          <a:ahLst/>
          <a:cxnLst/>
          <a:rect l="0" t="0" r="0" b="0"/>
          <a:pathLst>
            <a:path>
              <a:moveTo>
                <a:pt x="0" y="45720"/>
              </a:moveTo>
              <a:lnTo>
                <a:pt x="691576"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474171" y="3709271"/>
        <a:ext cx="36108" cy="7221"/>
      </dsp:txXfrm>
    </dsp:sp>
    <dsp:sp modelId="{0E04FCA1-66BA-4316-B74B-DA6BF04B50CD}">
      <dsp:nvSpPr>
        <dsp:cNvPr id="0" name=""/>
        <dsp:cNvSpPr/>
      </dsp:nvSpPr>
      <dsp:spPr>
        <a:xfrm>
          <a:off x="8341" y="2770913"/>
          <a:ext cx="3139897" cy="18839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pply the index recommendation</a:t>
          </a:r>
          <a:endParaRPr lang="en-US" sz="2400" kern="1200" dirty="0"/>
        </a:p>
      </dsp:txBody>
      <dsp:txXfrm>
        <a:off x="8341" y="2770913"/>
        <a:ext cx="3139897" cy="1883938"/>
      </dsp:txXfrm>
    </dsp:sp>
    <dsp:sp modelId="{0F770C92-8707-4ED6-A0D6-535782DA22A9}">
      <dsp:nvSpPr>
        <dsp:cNvPr id="0" name=""/>
        <dsp:cNvSpPr/>
      </dsp:nvSpPr>
      <dsp:spPr>
        <a:xfrm>
          <a:off x="7008511" y="3667162"/>
          <a:ext cx="691576" cy="91440"/>
        </a:xfrm>
        <a:custGeom>
          <a:avLst/>
          <a:gdLst/>
          <a:ahLst/>
          <a:cxnLst/>
          <a:rect l="0" t="0" r="0" b="0"/>
          <a:pathLst>
            <a:path>
              <a:moveTo>
                <a:pt x="0" y="45720"/>
              </a:moveTo>
              <a:lnTo>
                <a:pt x="691576"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336245" y="3709271"/>
        <a:ext cx="36108" cy="7221"/>
      </dsp:txXfrm>
    </dsp:sp>
    <dsp:sp modelId="{524B6BF2-2764-4DDF-ADB7-3B742FDAD4CF}">
      <dsp:nvSpPr>
        <dsp:cNvPr id="0" name=""/>
        <dsp:cNvSpPr/>
      </dsp:nvSpPr>
      <dsp:spPr>
        <a:xfrm>
          <a:off x="3870414" y="2770913"/>
          <a:ext cx="3139897" cy="18839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ompare the performance with the baseline</a:t>
          </a:r>
          <a:endParaRPr lang="en-US" sz="2400" kern="1200" dirty="0"/>
        </a:p>
      </dsp:txBody>
      <dsp:txXfrm>
        <a:off x="3870414" y="2770913"/>
        <a:ext cx="3139897" cy="1883938"/>
      </dsp:txXfrm>
    </dsp:sp>
    <dsp:sp modelId="{7F237396-FDCA-46BD-AD11-ABA0E009B081}">
      <dsp:nvSpPr>
        <dsp:cNvPr id="0" name=""/>
        <dsp:cNvSpPr/>
      </dsp:nvSpPr>
      <dsp:spPr>
        <a:xfrm>
          <a:off x="7732487" y="2770913"/>
          <a:ext cx="3139897" cy="18839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t" anchorCtr="0">
          <a:noAutofit/>
        </a:bodyPr>
        <a:lstStyle/>
        <a:p>
          <a:pPr marL="0" lvl="0" indent="0" algn="l" defTabSz="1066800">
            <a:lnSpc>
              <a:spcPct val="90000"/>
            </a:lnSpc>
            <a:spcBef>
              <a:spcPct val="0"/>
            </a:spcBef>
            <a:spcAft>
              <a:spcPct val="35000"/>
            </a:spcAft>
            <a:buNone/>
          </a:pPr>
          <a:r>
            <a:rPr lang="en-US" sz="2400" kern="1200" baseline="0" dirty="0"/>
            <a:t>If performance improved?</a:t>
          </a:r>
          <a:endParaRPr lang="en-US" sz="2400" kern="1200" dirty="0"/>
        </a:p>
        <a:p>
          <a:pPr marL="228600" lvl="1" indent="-228600" algn="l" defTabSz="889000">
            <a:lnSpc>
              <a:spcPct val="90000"/>
            </a:lnSpc>
            <a:spcBef>
              <a:spcPct val="0"/>
            </a:spcBef>
            <a:spcAft>
              <a:spcPct val="15000"/>
            </a:spcAft>
            <a:buChar char="•"/>
          </a:pPr>
          <a:r>
            <a:rPr lang="en-US" sz="2000" kern="1200" baseline="0" dirty="0"/>
            <a:t>Revert OR</a:t>
          </a:r>
          <a:endParaRPr lang="en-US" sz="2000" kern="1200" dirty="0"/>
        </a:p>
        <a:p>
          <a:pPr marL="228600" lvl="1" indent="-228600" algn="l" defTabSz="889000">
            <a:lnSpc>
              <a:spcPct val="90000"/>
            </a:lnSpc>
            <a:spcBef>
              <a:spcPct val="0"/>
            </a:spcBef>
            <a:spcAft>
              <a:spcPct val="15000"/>
            </a:spcAft>
            <a:buChar char="•"/>
          </a:pPr>
          <a:r>
            <a:rPr lang="en-US" sz="2000" kern="1200" baseline="0" dirty="0"/>
            <a:t>Flagged as successful</a:t>
          </a:r>
          <a:endParaRPr lang="en-US" sz="2000" kern="1200" dirty="0"/>
        </a:p>
      </dsp:txBody>
      <dsp:txXfrm>
        <a:off x="7732487" y="2770913"/>
        <a:ext cx="3139897" cy="188393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0C573D-34B1-4358-AA4E-5EFA2414047B}">
      <dsp:nvSpPr>
        <dsp:cNvPr id="0" name=""/>
        <dsp:cNvSpPr/>
      </dsp:nvSpPr>
      <dsp:spPr>
        <a:xfrm>
          <a:off x="9563" y="123172"/>
          <a:ext cx="2858315" cy="171498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Is an index not used</a:t>
          </a:r>
          <a:endParaRPr lang="en-US" sz="2300" kern="1200"/>
        </a:p>
      </dsp:txBody>
      <dsp:txXfrm>
        <a:off x="59793" y="173402"/>
        <a:ext cx="2757855" cy="1614529"/>
      </dsp:txXfrm>
    </dsp:sp>
    <dsp:sp modelId="{0AC7A1FD-A96E-4C97-A67D-082DFD1453D6}">
      <dsp:nvSpPr>
        <dsp:cNvPr id="0" name=""/>
        <dsp:cNvSpPr/>
      </dsp:nvSpPr>
      <dsp:spPr>
        <a:xfrm>
          <a:off x="3119410" y="626235"/>
          <a:ext cx="605962" cy="7088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3119410" y="768007"/>
        <a:ext cx="424173" cy="425318"/>
      </dsp:txXfrm>
    </dsp:sp>
    <dsp:sp modelId="{0897747B-7424-41DA-A388-6DFFC2072DEE}">
      <dsp:nvSpPr>
        <dsp:cNvPr id="0" name=""/>
        <dsp:cNvSpPr/>
      </dsp:nvSpPr>
      <dsp:spPr>
        <a:xfrm>
          <a:off x="4011205" y="123172"/>
          <a:ext cx="2858315" cy="171498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Drop index recommendation </a:t>
          </a:r>
          <a:endParaRPr lang="en-US" sz="2300" kern="1200"/>
        </a:p>
      </dsp:txBody>
      <dsp:txXfrm>
        <a:off x="4061435" y="173402"/>
        <a:ext cx="2757855" cy="1614529"/>
      </dsp:txXfrm>
    </dsp:sp>
    <dsp:sp modelId="{98371DF5-319C-4CA5-B2AC-637101843D9B}">
      <dsp:nvSpPr>
        <dsp:cNvPr id="0" name=""/>
        <dsp:cNvSpPr/>
      </dsp:nvSpPr>
      <dsp:spPr>
        <a:xfrm>
          <a:off x="7121052" y="626235"/>
          <a:ext cx="605962" cy="7088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7121052" y="768007"/>
        <a:ext cx="424173" cy="425318"/>
      </dsp:txXfrm>
    </dsp:sp>
    <dsp:sp modelId="{291C2C19-BED8-4AD1-BD27-5BC3B7B60B93}">
      <dsp:nvSpPr>
        <dsp:cNvPr id="0" name=""/>
        <dsp:cNvSpPr/>
      </dsp:nvSpPr>
      <dsp:spPr>
        <a:xfrm>
          <a:off x="8012847" y="123172"/>
          <a:ext cx="2858315" cy="171498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Apply the index recommendation</a:t>
          </a:r>
          <a:endParaRPr lang="en-US" sz="2300" kern="1200"/>
        </a:p>
      </dsp:txBody>
      <dsp:txXfrm>
        <a:off x="8063077" y="173402"/>
        <a:ext cx="2757855" cy="1614529"/>
      </dsp:txXfrm>
    </dsp:sp>
    <dsp:sp modelId="{D9D2DB83-DAAE-4683-9155-7DEC28D526F2}">
      <dsp:nvSpPr>
        <dsp:cNvPr id="0" name=""/>
        <dsp:cNvSpPr/>
      </dsp:nvSpPr>
      <dsp:spPr>
        <a:xfrm rot="5400000">
          <a:off x="9139023" y="2038243"/>
          <a:ext cx="605962" cy="7088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rot="-5400000">
        <a:off x="9229346" y="2089693"/>
        <a:ext cx="425318" cy="424173"/>
      </dsp:txXfrm>
    </dsp:sp>
    <dsp:sp modelId="{C5DC7407-7790-4DFE-BD3F-09F06ADF199E}">
      <dsp:nvSpPr>
        <dsp:cNvPr id="0" name=""/>
        <dsp:cNvSpPr/>
      </dsp:nvSpPr>
      <dsp:spPr>
        <a:xfrm>
          <a:off x="8012847" y="2981488"/>
          <a:ext cx="2858315" cy="171498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baseline="0"/>
            <a:t>Compare the performance with the baseline</a:t>
          </a:r>
          <a:endParaRPr lang="en-US" sz="2300" kern="1200"/>
        </a:p>
      </dsp:txBody>
      <dsp:txXfrm>
        <a:off x="8063077" y="3031718"/>
        <a:ext cx="2757855" cy="1614529"/>
      </dsp:txXfrm>
    </dsp:sp>
    <dsp:sp modelId="{46496C4C-D119-4309-BE99-CA36B7EB5046}">
      <dsp:nvSpPr>
        <dsp:cNvPr id="0" name=""/>
        <dsp:cNvSpPr/>
      </dsp:nvSpPr>
      <dsp:spPr>
        <a:xfrm rot="10800000">
          <a:off x="7155352" y="3484551"/>
          <a:ext cx="605962" cy="7088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rot="10800000">
        <a:off x="7337141" y="3626323"/>
        <a:ext cx="424173" cy="425318"/>
      </dsp:txXfrm>
    </dsp:sp>
    <dsp:sp modelId="{3096631C-0991-4995-8688-2503C89EE5B8}">
      <dsp:nvSpPr>
        <dsp:cNvPr id="0" name=""/>
        <dsp:cNvSpPr/>
      </dsp:nvSpPr>
      <dsp:spPr>
        <a:xfrm>
          <a:off x="4011205" y="2981488"/>
          <a:ext cx="2858315" cy="171498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baseline="0"/>
            <a:t>If performance improved?</a:t>
          </a:r>
          <a:endParaRPr lang="en-US" sz="2300" kern="1200"/>
        </a:p>
        <a:p>
          <a:pPr marL="171450" lvl="1" indent="-171450" algn="l" defTabSz="800100">
            <a:lnSpc>
              <a:spcPct val="90000"/>
            </a:lnSpc>
            <a:spcBef>
              <a:spcPct val="0"/>
            </a:spcBef>
            <a:spcAft>
              <a:spcPct val="15000"/>
            </a:spcAft>
            <a:buChar char="•"/>
          </a:pPr>
          <a:r>
            <a:rPr lang="en-US" sz="1800" kern="1200" baseline="0"/>
            <a:t>Revert OR</a:t>
          </a:r>
          <a:endParaRPr lang="en-US" sz="1800" kern="1200"/>
        </a:p>
        <a:p>
          <a:pPr marL="171450" lvl="1" indent="-171450" algn="l" defTabSz="800100">
            <a:lnSpc>
              <a:spcPct val="90000"/>
            </a:lnSpc>
            <a:spcBef>
              <a:spcPct val="0"/>
            </a:spcBef>
            <a:spcAft>
              <a:spcPct val="15000"/>
            </a:spcAft>
            <a:buChar char="•"/>
          </a:pPr>
          <a:r>
            <a:rPr lang="en-US" sz="1800" kern="1200" baseline="0"/>
            <a:t>Flagged as successful</a:t>
          </a:r>
          <a:endParaRPr lang="en-US" sz="1800" kern="1200"/>
        </a:p>
      </dsp:txBody>
      <dsp:txXfrm>
        <a:off x="4061435" y="3031718"/>
        <a:ext cx="2757855" cy="161452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4E1059-290A-4E86-A943-EC531EFB99FF}">
      <dsp:nvSpPr>
        <dsp:cNvPr id="0" name=""/>
        <dsp:cNvSpPr/>
      </dsp:nvSpPr>
      <dsp:spPr>
        <a:xfrm>
          <a:off x="3146438" y="1061047"/>
          <a:ext cx="691576" cy="91440"/>
        </a:xfrm>
        <a:custGeom>
          <a:avLst/>
          <a:gdLst/>
          <a:ahLst/>
          <a:cxnLst/>
          <a:rect l="0" t="0" r="0" b="0"/>
          <a:pathLst>
            <a:path>
              <a:moveTo>
                <a:pt x="0" y="45720"/>
              </a:moveTo>
              <a:lnTo>
                <a:pt x="691576"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474171" y="1103156"/>
        <a:ext cx="36108" cy="7221"/>
      </dsp:txXfrm>
    </dsp:sp>
    <dsp:sp modelId="{0A0BE8D9-0712-4B1B-9797-EAC0DF3972BD}">
      <dsp:nvSpPr>
        <dsp:cNvPr id="0" name=""/>
        <dsp:cNvSpPr/>
      </dsp:nvSpPr>
      <dsp:spPr>
        <a:xfrm>
          <a:off x="8341" y="164798"/>
          <a:ext cx="3139897" cy="1883938"/>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baseline="0"/>
            <a:t>Queries that are constantly being recompiled but end up with the same query execution plan</a:t>
          </a:r>
          <a:endParaRPr lang="en-US" sz="2000" kern="1200"/>
        </a:p>
      </dsp:txBody>
      <dsp:txXfrm>
        <a:off x="8341" y="164798"/>
        <a:ext cx="3139897" cy="1883938"/>
      </dsp:txXfrm>
    </dsp:sp>
    <dsp:sp modelId="{B57882D5-6002-4E3A-B21F-E3A8FF97023E}">
      <dsp:nvSpPr>
        <dsp:cNvPr id="0" name=""/>
        <dsp:cNvSpPr/>
      </dsp:nvSpPr>
      <dsp:spPr>
        <a:xfrm>
          <a:off x="7008511" y="1061047"/>
          <a:ext cx="691576" cy="91440"/>
        </a:xfrm>
        <a:custGeom>
          <a:avLst/>
          <a:gdLst/>
          <a:ahLst/>
          <a:cxnLst/>
          <a:rect l="0" t="0" r="0" b="0"/>
          <a:pathLst>
            <a:path>
              <a:moveTo>
                <a:pt x="0" y="45720"/>
              </a:moveTo>
              <a:lnTo>
                <a:pt x="691576"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336245" y="1103156"/>
        <a:ext cx="36108" cy="7221"/>
      </dsp:txXfrm>
    </dsp:sp>
    <dsp:sp modelId="{965C4AEE-251E-41ED-A257-B8E2CB0DE436}">
      <dsp:nvSpPr>
        <dsp:cNvPr id="0" name=""/>
        <dsp:cNvSpPr/>
      </dsp:nvSpPr>
      <dsp:spPr>
        <a:xfrm>
          <a:off x="3870414" y="164798"/>
          <a:ext cx="3139897" cy="1883938"/>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nl-BE" sz="2000" kern="1200" baseline="0"/>
            <a:t>Forced parameterization</a:t>
          </a:r>
          <a:endParaRPr lang="en-US" sz="2000" kern="1200"/>
        </a:p>
      </dsp:txBody>
      <dsp:txXfrm>
        <a:off x="3870414" y="164798"/>
        <a:ext cx="3139897" cy="1883938"/>
      </dsp:txXfrm>
    </dsp:sp>
    <dsp:sp modelId="{A717592F-E413-44B9-B6AF-23F2D1E50026}">
      <dsp:nvSpPr>
        <dsp:cNvPr id="0" name=""/>
        <dsp:cNvSpPr/>
      </dsp:nvSpPr>
      <dsp:spPr>
        <a:xfrm>
          <a:off x="1578289" y="2046936"/>
          <a:ext cx="7724146" cy="691576"/>
        </a:xfrm>
        <a:custGeom>
          <a:avLst/>
          <a:gdLst/>
          <a:ahLst/>
          <a:cxnLst/>
          <a:rect l="0" t="0" r="0" b="0"/>
          <a:pathLst>
            <a:path>
              <a:moveTo>
                <a:pt x="7724146" y="0"/>
              </a:moveTo>
              <a:lnTo>
                <a:pt x="7724146" y="362888"/>
              </a:lnTo>
              <a:lnTo>
                <a:pt x="0" y="362888"/>
              </a:lnTo>
              <a:lnTo>
                <a:pt x="0" y="691576"/>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246417" y="2389114"/>
        <a:ext cx="387891" cy="7221"/>
      </dsp:txXfrm>
    </dsp:sp>
    <dsp:sp modelId="{31279DE9-3708-423A-BA93-92C72BD200F5}">
      <dsp:nvSpPr>
        <dsp:cNvPr id="0" name=""/>
        <dsp:cNvSpPr/>
      </dsp:nvSpPr>
      <dsp:spPr>
        <a:xfrm>
          <a:off x="7732487" y="164798"/>
          <a:ext cx="3139897" cy="1883938"/>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baseline="0"/>
            <a:t>Apply the recommendation</a:t>
          </a:r>
          <a:endParaRPr lang="en-US" sz="2000" kern="1200"/>
        </a:p>
      </dsp:txBody>
      <dsp:txXfrm>
        <a:off x="7732487" y="164798"/>
        <a:ext cx="3139897" cy="1883938"/>
      </dsp:txXfrm>
    </dsp:sp>
    <dsp:sp modelId="{6E92A483-1B00-4934-A975-AE36164B82C1}">
      <dsp:nvSpPr>
        <dsp:cNvPr id="0" name=""/>
        <dsp:cNvSpPr/>
      </dsp:nvSpPr>
      <dsp:spPr>
        <a:xfrm>
          <a:off x="3146438" y="3667162"/>
          <a:ext cx="691576" cy="91440"/>
        </a:xfrm>
        <a:custGeom>
          <a:avLst/>
          <a:gdLst/>
          <a:ahLst/>
          <a:cxnLst/>
          <a:rect l="0" t="0" r="0" b="0"/>
          <a:pathLst>
            <a:path>
              <a:moveTo>
                <a:pt x="0" y="45720"/>
              </a:moveTo>
              <a:lnTo>
                <a:pt x="691576"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474171" y="3709271"/>
        <a:ext cx="36108" cy="7221"/>
      </dsp:txXfrm>
    </dsp:sp>
    <dsp:sp modelId="{98E41D80-8538-4E6F-824B-D26272E2BEC9}">
      <dsp:nvSpPr>
        <dsp:cNvPr id="0" name=""/>
        <dsp:cNvSpPr/>
      </dsp:nvSpPr>
      <dsp:spPr>
        <a:xfrm>
          <a:off x="8341" y="2770913"/>
          <a:ext cx="3139897" cy="1883938"/>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baseline="0"/>
            <a:t>Compare the performance with the baseline</a:t>
          </a:r>
          <a:endParaRPr lang="en-US" sz="2000" kern="1200"/>
        </a:p>
      </dsp:txBody>
      <dsp:txXfrm>
        <a:off x="8341" y="2770913"/>
        <a:ext cx="3139897" cy="1883938"/>
      </dsp:txXfrm>
    </dsp:sp>
    <dsp:sp modelId="{8D85E95D-29B1-43CD-A02D-CFB4E94F0E31}">
      <dsp:nvSpPr>
        <dsp:cNvPr id="0" name=""/>
        <dsp:cNvSpPr/>
      </dsp:nvSpPr>
      <dsp:spPr>
        <a:xfrm>
          <a:off x="3870414" y="2770913"/>
          <a:ext cx="3139897" cy="1883938"/>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128016" numCol="1" spcCol="1270" anchor="t" anchorCtr="0">
          <a:noAutofit/>
        </a:bodyPr>
        <a:lstStyle/>
        <a:p>
          <a:pPr marL="0" lvl="0" indent="0" algn="l" defTabSz="889000">
            <a:lnSpc>
              <a:spcPct val="90000"/>
            </a:lnSpc>
            <a:spcBef>
              <a:spcPct val="0"/>
            </a:spcBef>
            <a:spcAft>
              <a:spcPct val="35000"/>
            </a:spcAft>
            <a:buNone/>
          </a:pPr>
          <a:r>
            <a:rPr lang="en-US" sz="2000" kern="1200" baseline="0" dirty="0"/>
            <a:t>If performance improved?</a:t>
          </a:r>
          <a:endParaRPr lang="en-US" sz="2000" kern="1200" dirty="0"/>
        </a:p>
        <a:p>
          <a:pPr marL="171450" lvl="1" indent="-171450" algn="l" defTabSz="800100">
            <a:lnSpc>
              <a:spcPct val="90000"/>
            </a:lnSpc>
            <a:spcBef>
              <a:spcPct val="0"/>
            </a:spcBef>
            <a:spcAft>
              <a:spcPct val="15000"/>
            </a:spcAft>
            <a:buChar char="•"/>
          </a:pPr>
          <a:r>
            <a:rPr lang="en-US" sz="1800" kern="1200" baseline="0" dirty="0"/>
            <a:t>Revert OR</a:t>
          </a:r>
          <a:endParaRPr lang="en-US" sz="1800" kern="1200" dirty="0"/>
        </a:p>
        <a:p>
          <a:pPr marL="171450" lvl="1" indent="-171450" algn="l" defTabSz="800100">
            <a:lnSpc>
              <a:spcPct val="90000"/>
            </a:lnSpc>
            <a:spcBef>
              <a:spcPct val="0"/>
            </a:spcBef>
            <a:spcAft>
              <a:spcPct val="15000"/>
            </a:spcAft>
            <a:buChar char="•"/>
          </a:pPr>
          <a:r>
            <a:rPr lang="en-US" sz="1800" kern="1200" baseline="0" dirty="0"/>
            <a:t>Flagged as successful</a:t>
          </a:r>
          <a:endParaRPr lang="en-US" sz="1800" kern="1200" dirty="0"/>
        </a:p>
      </dsp:txBody>
      <dsp:txXfrm>
        <a:off x="3870414" y="2770913"/>
        <a:ext cx="3139897" cy="188393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88233"/>
          <a:ext cx="10880725" cy="7464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solidFill>
                <a:srgbClr val="FFFFFF"/>
              </a:solidFill>
            </a:rPr>
            <a:t>List three types of recommendations from Automatic Tuning.</a:t>
          </a:r>
          <a:endParaRPr lang="en-US" sz="2900" kern="1200" dirty="0"/>
        </a:p>
      </dsp:txBody>
      <dsp:txXfrm>
        <a:off x="36439" y="224672"/>
        <a:ext cx="10807847" cy="673582"/>
      </dsp:txXfrm>
    </dsp:sp>
    <dsp:sp modelId="{E922B38C-D007-46D8-9A79-C8E951BC8385}">
      <dsp:nvSpPr>
        <dsp:cNvPr id="0" name=""/>
        <dsp:cNvSpPr/>
      </dsp:nvSpPr>
      <dsp:spPr>
        <a:xfrm>
          <a:off x="0" y="1018213"/>
          <a:ext cx="10880725" cy="7464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solidFill>
                <a:srgbClr val="FFFFFF"/>
              </a:solidFill>
            </a:rPr>
            <a:t>What could be a reason to disable the automatic tuning option?</a:t>
          </a:r>
          <a:endParaRPr lang="en-US" sz="2900" kern="1200" dirty="0"/>
        </a:p>
      </dsp:txBody>
      <dsp:txXfrm>
        <a:off x="36439" y="1054652"/>
        <a:ext cx="10807847" cy="673582"/>
      </dsp:txXfrm>
    </dsp:sp>
    <dsp:sp modelId="{E29C2E90-8458-435A-8D44-6886593072C8}">
      <dsp:nvSpPr>
        <dsp:cNvPr id="0" name=""/>
        <dsp:cNvSpPr/>
      </dsp:nvSpPr>
      <dsp:spPr>
        <a:xfrm>
          <a:off x="0" y="1848193"/>
          <a:ext cx="10880725" cy="7464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Font typeface="Arial" panose="020B0604020202020204" pitchFamily="34" charset="0"/>
            <a:buNone/>
          </a:pPr>
          <a:r>
            <a:rPr lang="en-US" sz="2900" kern="1200">
              <a:solidFill>
                <a:srgbClr val="FFFFFF"/>
              </a:solidFill>
            </a:rPr>
            <a:t>What technology is used for Automatic Tuning?</a:t>
          </a:r>
          <a:endParaRPr lang="en-US" sz="2900" kern="1200" dirty="0"/>
        </a:p>
      </dsp:txBody>
      <dsp:txXfrm>
        <a:off x="36439" y="1884632"/>
        <a:ext cx="10807847" cy="67358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76C60B-0FA7-414A-88E3-48BD129A75A1}">
      <dsp:nvSpPr>
        <dsp:cNvPr id="0" name=""/>
        <dsp:cNvSpPr/>
      </dsp:nvSpPr>
      <dsp:spPr>
        <a:xfrm>
          <a:off x="0" y="266013"/>
          <a:ext cx="4742532" cy="13923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8073" tIns="354076" rIns="368073" bIns="99568" numCol="1" spcCol="1270" anchor="t" anchorCtr="0">
          <a:noAutofit/>
        </a:bodyPr>
        <a:lstStyle/>
        <a:p>
          <a:pPr marL="114300" lvl="1" indent="-114300" algn="l" defTabSz="622300">
            <a:lnSpc>
              <a:spcPct val="90000"/>
            </a:lnSpc>
            <a:spcBef>
              <a:spcPct val="0"/>
            </a:spcBef>
            <a:spcAft>
              <a:spcPct val="15000"/>
            </a:spcAft>
            <a:buChar char="•"/>
          </a:pPr>
          <a:r>
            <a:rPr kumimoji="0" lang="nl-BE" sz="14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rPr>
            <a:t>Integrated with Operations Management Suite.</a:t>
          </a:r>
        </a:p>
        <a:p>
          <a:pPr marL="114300" lvl="1" indent="-114300" algn="l" defTabSz="622300">
            <a:lnSpc>
              <a:spcPct val="90000"/>
            </a:lnSpc>
            <a:spcBef>
              <a:spcPct val="0"/>
            </a:spcBef>
            <a:spcAft>
              <a:spcPct val="15000"/>
            </a:spcAft>
            <a:buChar char="•"/>
          </a:pPr>
          <a:r>
            <a:rPr kumimoji="0" lang="nl-BE" sz="14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rPr>
            <a:t>Monitor entire Azure SQL Database estate across multiple subscriptions.</a:t>
          </a:r>
        </a:p>
        <a:p>
          <a:pPr marL="114300" lvl="1" indent="-114300" algn="l" defTabSz="622300">
            <a:lnSpc>
              <a:spcPct val="90000"/>
            </a:lnSpc>
            <a:spcBef>
              <a:spcPct val="0"/>
            </a:spcBef>
            <a:spcAft>
              <a:spcPct val="15000"/>
            </a:spcAft>
            <a:buChar char="•"/>
          </a:pPr>
          <a:r>
            <a:rPr kumimoji="0" lang="nl-BE"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Provides a view into raw telemetry.</a:t>
          </a:r>
          <a:endParaRPr kumimoji="0" lang="nl-BE" sz="14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sp:txBody>
      <dsp:txXfrm>
        <a:off x="0" y="266013"/>
        <a:ext cx="4742532" cy="1392300"/>
      </dsp:txXfrm>
    </dsp:sp>
    <dsp:sp modelId="{3A950B58-1837-4B55-8AA2-5F0B2267F306}">
      <dsp:nvSpPr>
        <dsp:cNvPr id="0" name=""/>
        <dsp:cNvSpPr/>
      </dsp:nvSpPr>
      <dsp:spPr>
        <a:xfrm>
          <a:off x="237126" y="15093"/>
          <a:ext cx="3319772" cy="50184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5479" tIns="0" rIns="125479" bIns="0" numCol="1" spcCol="1270" anchor="ctr" anchorCtr="0">
          <a:noAutofit/>
        </a:bodyPr>
        <a:lstStyle/>
        <a:p>
          <a:pPr marL="0" lvl="0" indent="0" algn="l" defTabSz="622300">
            <a:lnSpc>
              <a:spcPct val="90000"/>
            </a:lnSpc>
            <a:spcBef>
              <a:spcPct val="0"/>
            </a:spcBef>
            <a:spcAft>
              <a:spcPct val="35000"/>
            </a:spcAft>
            <a:buNone/>
          </a:pPr>
          <a:r>
            <a:rPr kumimoji="0" lang="nl-BE"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Monitoring Azure SQL Database at scale</a:t>
          </a:r>
          <a:endParaRPr kumimoji="0" lang="nl-BE" sz="14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sp:txBody>
      <dsp:txXfrm>
        <a:off x="261624" y="39591"/>
        <a:ext cx="3270776" cy="452844"/>
      </dsp:txXfrm>
    </dsp:sp>
    <dsp:sp modelId="{0249DD3D-A182-44D7-BA17-46CD56D2D05A}">
      <dsp:nvSpPr>
        <dsp:cNvPr id="0" name=""/>
        <dsp:cNvSpPr/>
      </dsp:nvSpPr>
      <dsp:spPr>
        <a:xfrm>
          <a:off x="0" y="2001033"/>
          <a:ext cx="4742532" cy="2803522"/>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8073" tIns="354076" rIns="368073" bIns="99568" numCol="1" spcCol="1270" anchor="t" anchorCtr="0">
          <a:noAutofit/>
        </a:bodyPr>
        <a:lstStyle/>
        <a:p>
          <a:pPr marL="114300" lvl="1" indent="-114300" algn="l" defTabSz="622300">
            <a:lnSpc>
              <a:spcPct val="90000"/>
            </a:lnSpc>
            <a:spcBef>
              <a:spcPct val="0"/>
            </a:spcBef>
            <a:spcAft>
              <a:spcPct val="15000"/>
            </a:spcAft>
            <a:buChar char="•"/>
          </a:pPr>
          <a:r>
            <a:rPr kumimoji="0" lang="nl-BE"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Resource usage</a:t>
          </a:r>
          <a:endParaRPr kumimoji="0" lang="nl-BE" sz="14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a:p>
          <a:pPr marL="114300" lvl="1" indent="-114300" algn="l" defTabSz="622300">
            <a:lnSpc>
              <a:spcPct val="90000"/>
            </a:lnSpc>
            <a:spcBef>
              <a:spcPct val="0"/>
            </a:spcBef>
            <a:spcAft>
              <a:spcPct val="15000"/>
            </a:spcAft>
            <a:buChar char="•"/>
          </a:pPr>
          <a:r>
            <a:rPr kumimoji="0" lang="nl-BE"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Query performance </a:t>
          </a:r>
          <a:endParaRPr kumimoji="0" lang="nl-BE" sz="14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a:p>
          <a:pPr marL="114300" lvl="1" indent="-114300" algn="l" defTabSz="622300">
            <a:lnSpc>
              <a:spcPct val="90000"/>
            </a:lnSpc>
            <a:spcBef>
              <a:spcPct val="0"/>
            </a:spcBef>
            <a:spcAft>
              <a:spcPct val="15000"/>
            </a:spcAft>
            <a:buChar char="•"/>
          </a:pPr>
          <a:r>
            <a:rPr kumimoji="0" lang="nl-BE"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SQL errors</a:t>
          </a:r>
          <a:endParaRPr kumimoji="0" lang="nl-BE" sz="14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a:p>
          <a:pPr marL="114300" lvl="1" indent="-114300" algn="l" defTabSz="622300">
            <a:lnSpc>
              <a:spcPct val="90000"/>
            </a:lnSpc>
            <a:spcBef>
              <a:spcPct val="0"/>
            </a:spcBef>
            <a:spcAft>
              <a:spcPct val="15000"/>
            </a:spcAft>
            <a:buChar char="•"/>
          </a:pPr>
          <a:r>
            <a:rPr kumimoji="0" lang="nl-BE"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Timeouts</a:t>
          </a:r>
          <a:endParaRPr kumimoji="0" lang="nl-BE" sz="14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a:p>
          <a:pPr marL="114300" lvl="1" indent="-114300" algn="l" defTabSz="622300">
            <a:lnSpc>
              <a:spcPct val="90000"/>
            </a:lnSpc>
            <a:spcBef>
              <a:spcPct val="0"/>
            </a:spcBef>
            <a:spcAft>
              <a:spcPct val="15000"/>
            </a:spcAft>
            <a:buChar char="•"/>
          </a:pPr>
          <a:r>
            <a:rPr kumimoji="0" lang="nl-BE"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Blocking </a:t>
          </a:r>
          <a:endParaRPr kumimoji="0" lang="nl-BE" sz="14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a:p>
          <a:pPr marL="114300" lvl="1" indent="-114300" algn="l" defTabSz="622300">
            <a:lnSpc>
              <a:spcPct val="90000"/>
            </a:lnSpc>
            <a:spcBef>
              <a:spcPct val="0"/>
            </a:spcBef>
            <a:spcAft>
              <a:spcPct val="15000"/>
            </a:spcAft>
            <a:buChar char="•"/>
          </a:pPr>
          <a:r>
            <a:rPr kumimoji="0" lang="nl-BE"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Intelligent insights</a:t>
          </a:r>
          <a:endParaRPr kumimoji="0" lang="nl-BE" sz="14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sp:txBody>
      <dsp:txXfrm>
        <a:off x="0" y="2001033"/>
        <a:ext cx="4742532" cy="2803522"/>
      </dsp:txXfrm>
    </dsp:sp>
    <dsp:sp modelId="{C9F478F7-68D0-4486-97DD-43DDFD8CF3FD}">
      <dsp:nvSpPr>
        <dsp:cNvPr id="0" name=""/>
        <dsp:cNvSpPr/>
      </dsp:nvSpPr>
      <dsp:spPr>
        <a:xfrm>
          <a:off x="237126" y="1750113"/>
          <a:ext cx="3319772" cy="50184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5479" tIns="0" rIns="125479" bIns="0" numCol="1" spcCol="1270" anchor="ctr" anchorCtr="0">
          <a:noAutofit/>
        </a:bodyPr>
        <a:lstStyle/>
        <a:p>
          <a:pPr marL="0" lvl="0" indent="0" algn="l" defTabSz="622300">
            <a:lnSpc>
              <a:spcPct val="90000"/>
            </a:lnSpc>
            <a:spcBef>
              <a:spcPct val="0"/>
            </a:spcBef>
            <a:spcAft>
              <a:spcPct val="35000"/>
            </a:spcAft>
            <a:buNone/>
          </a:pPr>
          <a:r>
            <a:rPr kumimoji="0" lang="nl-BE"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Monitored activities </a:t>
          </a:r>
          <a:endParaRPr kumimoji="0" lang="nl-BE" sz="14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endParaRPr>
        </a:p>
      </dsp:txBody>
      <dsp:txXfrm>
        <a:off x="261624" y="1774611"/>
        <a:ext cx="3270776" cy="452844"/>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BDDB0F-BA41-4E2B-A995-A5AD6D2492B5}">
      <dsp:nvSpPr>
        <dsp:cNvPr id="0" name=""/>
        <dsp:cNvSpPr/>
      </dsp:nvSpPr>
      <dsp:spPr>
        <a:xfrm>
          <a:off x="0" y="2353"/>
          <a:ext cx="6354762"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48C3C5F-046A-4B62-B86A-466FB521DE52}">
      <dsp:nvSpPr>
        <dsp:cNvPr id="0" name=""/>
        <dsp:cNvSpPr/>
      </dsp:nvSpPr>
      <dsp:spPr>
        <a:xfrm>
          <a:off x="0" y="2353"/>
          <a:ext cx="6354762" cy="802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baseline="0"/>
            <a:t>Intelligent Insights analyzes SQL Database performance by comparing the database workload from the last hour with the past seven-day baseline workload. </a:t>
          </a:r>
          <a:endParaRPr lang="en-US" sz="1500" kern="1200"/>
        </a:p>
      </dsp:txBody>
      <dsp:txXfrm>
        <a:off x="0" y="2353"/>
        <a:ext cx="6354762" cy="802490"/>
      </dsp:txXfrm>
    </dsp:sp>
    <dsp:sp modelId="{F5E9A05D-D6B1-470C-A6F9-A286352DA216}">
      <dsp:nvSpPr>
        <dsp:cNvPr id="0" name=""/>
        <dsp:cNvSpPr/>
      </dsp:nvSpPr>
      <dsp:spPr>
        <a:xfrm>
          <a:off x="0" y="804843"/>
          <a:ext cx="6354762"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CB1F033-D779-4DDD-B78B-C122336BFB61}">
      <dsp:nvSpPr>
        <dsp:cNvPr id="0" name=""/>
        <dsp:cNvSpPr/>
      </dsp:nvSpPr>
      <dsp:spPr>
        <a:xfrm>
          <a:off x="0" y="804843"/>
          <a:ext cx="6354762" cy="802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baseline="0"/>
            <a:t>After a performance degradation issue is detected from multiple observed metrics by using artificial intelligence, analysis is performed. </a:t>
          </a:r>
          <a:endParaRPr lang="en-US" sz="1500" kern="1200"/>
        </a:p>
      </dsp:txBody>
      <dsp:txXfrm>
        <a:off x="0" y="804843"/>
        <a:ext cx="6354762" cy="802490"/>
      </dsp:txXfrm>
    </dsp:sp>
    <dsp:sp modelId="{6DC71E6F-0BA6-4CD8-B200-8ABE2D214CFE}">
      <dsp:nvSpPr>
        <dsp:cNvPr id="0" name=""/>
        <dsp:cNvSpPr/>
      </dsp:nvSpPr>
      <dsp:spPr>
        <a:xfrm>
          <a:off x="0" y="1607334"/>
          <a:ext cx="6354762"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57ECE6-7BE0-4D6D-A13A-69EADA5D7AD3}">
      <dsp:nvSpPr>
        <dsp:cNvPr id="0" name=""/>
        <dsp:cNvSpPr/>
      </dsp:nvSpPr>
      <dsp:spPr>
        <a:xfrm>
          <a:off x="0" y="1607334"/>
          <a:ext cx="6354762" cy="802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baseline="0"/>
            <a:t>A diagnostics log is generated with an intelligent insight on what is happening with your database. </a:t>
          </a:r>
          <a:endParaRPr lang="en-US" sz="1500" kern="1200"/>
        </a:p>
      </dsp:txBody>
      <dsp:txXfrm>
        <a:off x="0" y="1607334"/>
        <a:ext cx="6354762" cy="802490"/>
      </dsp:txXfrm>
    </dsp:sp>
    <dsp:sp modelId="{245331D4-E8FD-4557-8620-4E58BC23C137}">
      <dsp:nvSpPr>
        <dsp:cNvPr id="0" name=""/>
        <dsp:cNvSpPr/>
      </dsp:nvSpPr>
      <dsp:spPr>
        <a:xfrm>
          <a:off x="0" y="2409824"/>
          <a:ext cx="6354762"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96086BC-FDED-4E8E-ACC8-9BC5AB79EA83}">
      <dsp:nvSpPr>
        <dsp:cNvPr id="0" name=""/>
        <dsp:cNvSpPr/>
      </dsp:nvSpPr>
      <dsp:spPr>
        <a:xfrm>
          <a:off x="0" y="2409824"/>
          <a:ext cx="6354762" cy="802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baseline="0"/>
            <a:t>Each detected issue is tracked through its lifecycle from initial issue detection and verification of performance improvement to its completion.</a:t>
          </a:r>
          <a:endParaRPr lang="en-US" sz="1500" kern="1200"/>
        </a:p>
      </dsp:txBody>
      <dsp:txXfrm>
        <a:off x="0" y="2409824"/>
        <a:ext cx="6354762" cy="802490"/>
      </dsp:txXfrm>
    </dsp:sp>
    <dsp:sp modelId="{94E2BC68-77BF-46F5-8DB5-3B2B8D171282}">
      <dsp:nvSpPr>
        <dsp:cNvPr id="0" name=""/>
        <dsp:cNvSpPr/>
      </dsp:nvSpPr>
      <dsp:spPr>
        <a:xfrm>
          <a:off x="0" y="3212315"/>
          <a:ext cx="6354762"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E5050C9-06A2-466C-961D-69F72DF9DF27}">
      <dsp:nvSpPr>
        <dsp:cNvPr id="0" name=""/>
        <dsp:cNvSpPr/>
      </dsp:nvSpPr>
      <dsp:spPr>
        <a:xfrm>
          <a:off x="0" y="3212315"/>
          <a:ext cx="6354762" cy="802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baseline="0"/>
            <a:t>Updates are provided in the diagnostics log every 15 minutes. </a:t>
          </a:r>
          <a:endParaRPr lang="en-US" sz="1500" kern="1200"/>
        </a:p>
      </dsp:txBody>
      <dsp:txXfrm>
        <a:off x="0" y="3212315"/>
        <a:ext cx="6354762" cy="802490"/>
      </dsp:txXfrm>
    </dsp:sp>
    <dsp:sp modelId="{6CC4FC9B-7F14-40EB-BC5F-80D19025E4F8}">
      <dsp:nvSpPr>
        <dsp:cNvPr id="0" name=""/>
        <dsp:cNvSpPr/>
      </dsp:nvSpPr>
      <dsp:spPr>
        <a:xfrm>
          <a:off x="0" y="4014806"/>
          <a:ext cx="6354762"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54FB24-A169-439B-AA08-12448FE2BA88}">
      <dsp:nvSpPr>
        <dsp:cNvPr id="0" name=""/>
        <dsp:cNvSpPr/>
      </dsp:nvSpPr>
      <dsp:spPr>
        <a:xfrm>
          <a:off x="0" y="4014806"/>
          <a:ext cx="6354762" cy="802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baseline="0"/>
            <a:t>The metrics used to measure and detect database performance issues are based on query duration, timeout requests, excessive wait times, and errored requests.</a:t>
          </a:r>
          <a:endParaRPr lang="en-US" sz="1500" kern="1200"/>
        </a:p>
      </dsp:txBody>
      <dsp:txXfrm>
        <a:off x="0" y="4014806"/>
        <a:ext cx="6354762" cy="80249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FC1A3E-F9F5-4903-AC21-2D3B5BE9A790}">
      <dsp:nvSpPr>
        <dsp:cNvPr id="0" name=""/>
        <dsp:cNvSpPr/>
      </dsp:nvSpPr>
      <dsp:spPr>
        <a:xfrm>
          <a:off x="0" y="228764"/>
          <a:ext cx="4373562"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Azure Log Analytics </a:t>
          </a:r>
          <a:endParaRPr lang="en-US" sz="2400" kern="1200"/>
        </a:p>
      </dsp:txBody>
      <dsp:txXfrm>
        <a:off x="30157" y="258921"/>
        <a:ext cx="4313248" cy="557445"/>
      </dsp:txXfrm>
    </dsp:sp>
    <dsp:sp modelId="{47F2705C-D5E1-42DE-80CC-DB9D2F1BA5B9}">
      <dsp:nvSpPr>
        <dsp:cNvPr id="0" name=""/>
        <dsp:cNvSpPr/>
      </dsp:nvSpPr>
      <dsp:spPr>
        <a:xfrm>
          <a:off x="0" y="846524"/>
          <a:ext cx="4373562" cy="645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861"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dirty="0"/>
            <a:t>Used to view the insights through a web browser.</a:t>
          </a:r>
          <a:endParaRPr lang="en-US" sz="1900" kern="1200" dirty="0"/>
        </a:p>
      </dsp:txBody>
      <dsp:txXfrm>
        <a:off x="0" y="846524"/>
        <a:ext cx="4373562" cy="645840"/>
      </dsp:txXfrm>
    </dsp:sp>
    <dsp:sp modelId="{9FDD52F0-E1F0-4974-805A-35055A1BE9E5}">
      <dsp:nvSpPr>
        <dsp:cNvPr id="0" name=""/>
        <dsp:cNvSpPr/>
      </dsp:nvSpPr>
      <dsp:spPr>
        <a:xfrm>
          <a:off x="0" y="1492364"/>
          <a:ext cx="4373562"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Azure Event Hubs </a:t>
          </a:r>
          <a:endParaRPr lang="en-US" sz="2400" kern="1200"/>
        </a:p>
      </dsp:txBody>
      <dsp:txXfrm>
        <a:off x="30157" y="1522521"/>
        <a:ext cx="4313248" cy="557445"/>
      </dsp:txXfrm>
    </dsp:sp>
    <dsp:sp modelId="{C3C9EC96-80D7-44BA-82EE-18790AE316F7}">
      <dsp:nvSpPr>
        <dsp:cNvPr id="0" name=""/>
        <dsp:cNvSpPr/>
      </dsp:nvSpPr>
      <dsp:spPr>
        <a:xfrm>
          <a:off x="0" y="2110124"/>
          <a:ext cx="4373562" cy="645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861"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a:t>Used to configure custom monitoring and alerting scenarios.</a:t>
          </a:r>
          <a:endParaRPr lang="en-US" sz="1900" kern="1200"/>
        </a:p>
      </dsp:txBody>
      <dsp:txXfrm>
        <a:off x="0" y="2110124"/>
        <a:ext cx="4373562" cy="645840"/>
      </dsp:txXfrm>
    </dsp:sp>
    <dsp:sp modelId="{1421C87B-C85D-4970-AFC9-BB39ED6D3609}">
      <dsp:nvSpPr>
        <dsp:cNvPr id="0" name=""/>
        <dsp:cNvSpPr/>
      </dsp:nvSpPr>
      <dsp:spPr>
        <a:xfrm>
          <a:off x="0" y="2755964"/>
          <a:ext cx="4373562" cy="617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Azure Storage</a:t>
          </a:r>
          <a:endParaRPr lang="en-US" sz="2400" kern="1200"/>
        </a:p>
      </dsp:txBody>
      <dsp:txXfrm>
        <a:off x="30157" y="2786121"/>
        <a:ext cx="4313248" cy="557445"/>
      </dsp:txXfrm>
    </dsp:sp>
    <dsp:sp modelId="{9C548B51-9B06-4021-B0E5-1D9C1F131316}">
      <dsp:nvSpPr>
        <dsp:cNvPr id="0" name=""/>
        <dsp:cNvSpPr/>
      </dsp:nvSpPr>
      <dsp:spPr>
        <a:xfrm>
          <a:off x="0" y="3373724"/>
          <a:ext cx="4373562" cy="1217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861"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a:t>Used for custom application development, such as for example custom reporting, or perhaps data archiving and retrieval.</a:t>
          </a:r>
          <a:endParaRPr lang="en-US" sz="1900" kern="1200"/>
        </a:p>
      </dsp:txBody>
      <dsp:txXfrm>
        <a:off x="0" y="3373724"/>
        <a:ext cx="4373562" cy="121716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15888"/>
          <a:ext cx="10880725" cy="6435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solidFill>
                <a:srgbClr val="FFFFFF"/>
              </a:solidFill>
            </a:rPr>
            <a:t>List three Azure resources that can be used to stream the Diagnostic Logs.</a:t>
          </a:r>
          <a:endParaRPr lang="en-US" sz="2500" kern="1200" dirty="0"/>
        </a:p>
      </dsp:txBody>
      <dsp:txXfrm>
        <a:off x="31413" y="147301"/>
        <a:ext cx="10817899" cy="580674"/>
      </dsp:txXfrm>
    </dsp:sp>
    <dsp:sp modelId="{E922B38C-D007-46D8-9A79-C8E951BC8385}">
      <dsp:nvSpPr>
        <dsp:cNvPr id="0" name=""/>
        <dsp:cNvSpPr/>
      </dsp:nvSpPr>
      <dsp:spPr>
        <a:xfrm>
          <a:off x="0" y="831388"/>
          <a:ext cx="10880725" cy="6435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solidFill>
                <a:srgbClr val="FFFFFF"/>
              </a:solidFill>
            </a:rPr>
            <a:t>What are the three possible states of a performance issue that is logged? </a:t>
          </a:r>
          <a:endParaRPr lang="en-US" sz="2500" kern="1200" dirty="0"/>
        </a:p>
      </dsp:txBody>
      <dsp:txXfrm>
        <a:off x="31413" y="862801"/>
        <a:ext cx="10817899" cy="580674"/>
      </dsp:txXfrm>
    </dsp:sp>
    <dsp:sp modelId="{4863A2C3-811B-4575-B639-51357EF0C004}">
      <dsp:nvSpPr>
        <dsp:cNvPr id="0" name=""/>
        <dsp:cNvSpPr/>
      </dsp:nvSpPr>
      <dsp:spPr>
        <a:xfrm>
          <a:off x="0" y="1546888"/>
          <a:ext cx="10880725" cy="64350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a:solidFill>
                <a:srgbClr val="FFFFFF"/>
              </a:solidFill>
            </a:rPr>
            <a:t>What </a:t>
          </a:r>
          <a:r>
            <a:rPr lang="en-US" sz="2500" kern="1200" dirty="0">
              <a:solidFill>
                <a:srgbClr val="FFFFFF"/>
              </a:solidFill>
            </a:rPr>
            <a:t>are the metrics that are used for detection models?</a:t>
          </a:r>
          <a:endParaRPr lang="en-US" sz="2500" kern="1200" dirty="0"/>
        </a:p>
      </dsp:txBody>
      <dsp:txXfrm>
        <a:off x="31413" y="1578301"/>
        <a:ext cx="10817899" cy="580674"/>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7811FF-8AD8-475C-8FAB-0BE9B2BB8C94}">
      <dsp:nvSpPr>
        <dsp:cNvPr id="0" name=""/>
        <dsp:cNvSpPr/>
      </dsp:nvSpPr>
      <dsp:spPr>
        <a:xfrm>
          <a:off x="1715199" y="110986"/>
          <a:ext cx="986331" cy="986331"/>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F155E28-775A-43EE-8BBE-91675175B13B}">
      <dsp:nvSpPr>
        <dsp:cNvPr id="0" name=""/>
        <dsp:cNvSpPr/>
      </dsp:nvSpPr>
      <dsp:spPr>
        <a:xfrm>
          <a:off x="1922328" y="318116"/>
          <a:ext cx="572072" cy="57207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760EF8-E54E-4F0B-BA74-9FDC6E0F60EB}">
      <dsp:nvSpPr>
        <dsp:cNvPr id="0" name=""/>
        <dsp:cNvSpPr/>
      </dsp:nvSpPr>
      <dsp:spPr>
        <a:xfrm>
          <a:off x="2912887" y="110986"/>
          <a:ext cx="2324924" cy="986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44550">
            <a:lnSpc>
              <a:spcPct val="100000"/>
            </a:lnSpc>
            <a:spcBef>
              <a:spcPct val="0"/>
            </a:spcBef>
            <a:spcAft>
              <a:spcPct val="35000"/>
            </a:spcAft>
            <a:buNone/>
          </a:pPr>
          <a:r>
            <a:rPr lang="en-US" sz="1900" kern="1200" baseline="0"/>
            <a:t>SQLTrace and SQLProfiler are deprecated</a:t>
          </a:r>
          <a:endParaRPr lang="en-US" sz="1900" kern="1200"/>
        </a:p>
      </dsp:txBody>
      <dsp:txXfrm>
        <a:off x="2912887" y="110986"/>
        <a:ext cx="2324924" cy="986331"/>
      </dsp:txXfrm>
    </dsp:sp>
    <dsp:sp modelId="{067A103A-D156-4B23-A97F-AAC20E2B4911}">
      <dsp:nvSpPr>
        <dsp:cNvPr id="0" name=""/>
        <dsp:cNvSpPr/>
      </dsp:nvSpPr>
      <dsp:spPr>
        <a:xfrm>
          <a:off x="5642913" y="110986"/>
          <a:ext cx="986331" cy="986331"/>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4BA976A-B349-4BB8-ABA5-B8040B76DBC4}">
      <dsp:nvSpPr>
        <dsp:cNvPr id="0" name=""/>
        <dsp:cNvSpPr/>
      </dsp:nvSpPr>
      <dsp:spPr>
        <a:xfrm>
          <a:off x="5850042" y="318116"/>
          <a:ext cx="572072" cy="57207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6A7D29-3D3E-4F7C-BA25-471708901415}">
      <dsp:nvSpPr>
        <dsp:cNvPr id="0" name=""/>
        <dsp:cNvSpPr/>
      </dsp:nvSpPr>
      <dsp:spPr>
        <a:xfrm>
          <a:off x="6840601" y="110986"/>
          <a:ext cx="2324924" cy="986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44550">
            <a:lnSpc>
              <a:spcPct val="100000"/>
            </a:lnSpc>
            <a:spcBef>
              <a:spcPct val="0"/>
            </a:spcBef>
            <a:spcAft>
              <a:spcPct val="35000"/>
            </a:spcAft>
            <a:buNone/>
          </a:pPr>
          <a:r>
            <a:rPr lang="en-US" sz="1900" kern="1200" baseline="0"/>
            <a:t>Faster and scalable</a:t>
          </a:r>
          <a:endParaRPr lang="en-US" sz="1900" kern="1200"/>
        </a:p>
      </dsp:txBody>
      <dsp:txXfrm>
        <a:off x="6840601" y="110986"/>
        <a:ext cx="2324924" cy="986331"/>
      </dsp:txXfrm>
    </dsp:sp>
    <dsp:sp modelId="{20F8A85C-4232-4F81-8A6E-1B1D9D343755}">
      <dsp:nvSpPr>
        <dsp:cNvPr id="0" name=""/>
        <dsp:cNvSpPr/>
      </dsp:nvSpPr>
      <dsp:spPr>
        <a:xfrm>
          <a:off x="1715199" y="1916659"/>
          <a:ext cx="986331" cy="986331"/>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EB1337A-0B07-461E-9B9A-961B81F85320}">
      <dsp:nvSpPr>
        <dsp:cNvPr id="0" name=""/>
        <dsp:cNvSpPr/>
      </dsp:nvSpPr>
      <dsp:spPr>
        <a:xfrm>
          <a:off x="1922328" y="2123788"/>
          <a:ext cx="572072" cy="57207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1CF27E-03BE-4828-914E-A6CC1F5AB723}">
      <dsp:nvSpPr>
        <dsp:cNvPr id="0" name=""/>
        <dsp:cNvSpPr/>
      </dsp:nvSpPr>
      <dsp:spPr>
        <a:xfrm>
          <a:off x="2912887" y="1916659"/>
          <a:ext cx="2324924" cy="986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44550">
            <a:lnSpc>
              <a:spcPct val="100000"/>
            </a:lnSpc>
            <a:spcBef>
              <a:spcPct val="0"/>
            </a:spcBef>
            <a:spcAft>
              <a:spcPct val="35000"/>
            </a:spcAft>
            <a:buNone/>
          </a:pPr>
          <a:r>
            <a:rPr lang="en-US" sz="1900" kern="1200" baseline="0"/>
            <a:t>Designed not to cause server problems</a:t>
          </a:r>
          <a:endParaRPr lang="en-US" sz="1900" kern="1200"/>
        </a:p>
      </dsp:txBody>
      <dsp:txXfrm>
        <a:off x="2912887" y="1916659"/>
        <a:ext cx="2324924" cy="986331"/>
      </dsp:txXfrm>
    </dsp:sp>
    <dsp:sp modelId="{1DEB93A4-3041-46FA-AEC4-BE32A39737F5}">
      <dsp:nvSpPr>
        <dsp:cNvPr id="0" name=""/>
        <dsp:cNvSpPr/>
      </dsp:nvSpPr>
      <dsp:spPr>
        <a:xfrm>
          <a:off x="5642913" y="1916659"/>
          <a:ext cx="986331" cy="986331"/>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A4F271F-DEB4-4804-8A05-4B079AA21236}">
      <dsp:nvSpPr>
        <dsp:cNvPr id="0" name=""/>
        <dsp:cNvSpPr/>
      </dsp:nvSpPr>
      <dsp:spPr>
        <a:xfrm>
          <a:off x="5850042" y="2123788"/>
          <a:ext cx="572072" cy="57207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51FC311-B1B6-4928-92AE-4C86E2732B6C}">
      <dsp:nvSpPr>
        <dsp:cNvPr id="0" name=""/>
        <dsp:cNvSpPr/>
      </dsp:nvSpPr>
      <dsp:spPr>
        <a:xfrm>
          <a:off x="6840601" y="1916659"/>
          <a:ext cx="2324924" cy="986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44550">
            <a:lnSpc>
              <a:spcPct val="100000"/>
            </a:lnSpc>
            <a:spcBef>
              <a:spcPct val="0"/>
            </a:spcBef>
            <a:spcAft>
              <a:spcPct val="35000"/>
            </a:spcAft>
            <a:buNone/>
          </a:pPr>
          <a:r>
            <a:rPr lang="en-US" sz="1900" kern="1200" baseline="0"/>
            <a:t>More events than SQLTrace ever had</a:t>
          </a:r>
          <a:endParaRPr lang="en-US" sz="1900" kern="1200"/>
        </a:p>
      </dsp:txBody>
      <dsp:txXfrm>
        <a:off x="6840601" y="1916659"/>
        <a:ext cx="2324924" cy="986331"/>
      </dsp:txXfrm>
    </dsp:sp>
    <dsp:sp modelId="{E686D953-F507-4E7D-A8F8-54848291D6E9}">
      <dsp:nvSpPr>
        <dsp:cNvPr id="0" name=""/>
        <dsp:cNvSpPr/>
      </dsp:nvSpPr>
      <dsp:spPr>
        <a:xfrm>
          <a:off x="1715199" y="3722331"/>
          <a:ext cx="986331" cy="986331"/>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1C428B0-A510-48C1-BDB2-43023CE9D084}">
      <dsp:nvSpPr>
        <dsp:cNvPr id="0" name=""/>
        <dsp:cNvSpPr/>
      </dsp:nvSpPr>
      <dsp:spPr>
        <a:xfrm>
          <a:off x="1922328" y="3929461"/>
          <a:ext cx="572072" cy="57207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DAEB90A-B495-46DE-B3CE-50824583D9CB}">
      <dsp:nvSpPr>
        <dsp:cNvPr id="0" name=""/>
        <dsp:cNvSpPr/>
      </dsp:nvSpPr>
      <dsp:spPr>
        <a:xfrm>
          <a:off x="2912887" y="3722331"/>
          <a:ext cx="2324924" cy="986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44550">
            <a:lnSpc>
              <a:spcPct val="100000"/>
            </a:lnSpc>
            <a:spcBef>
              <a:spcPct val="0"/>
            </a:spcBef>
            <a:spcAft>
              <a:spcPct val="35000"/>
            </a:spcAft>
            <a:buNone/>
          </a:pPr>
          <a:r>
            <a:rPr lang="en-US" sz="1900" kern="1200" baseline="0"/>
            <a:t>Targets and actions make it powerful</a:t>
          </a:r>
          <a:endParaRPr lang="en-US" sz="1900" kern="1200"/>
        </a:p>
      </dsp:txBody>
      <dsp:txXfrm>
        <a:off x="2912887" y="3722331"/>
        <a:ext cx="2324924" cy="986331"/>
      </dsp:txXfrm>
    </dsp:sp>
    <dsp:sp modelId="{E00817A4-30F7-4E53-90CF-58513AB05BC4}">
      <dsp:nvSpPr>
        <dsp:cNvPr id="0" name=""/>
        <dsp:cNvSpPr/>
      </dsp:nvSpPr>
      <dsp:spPr>
        <a:xfrm>
          <a:off x="5642913" y="3722331"/>
          <a:ext cx="986331" cy="986331"/>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87B1771-591B-4D30-AF28-14C483B47A79}">
      <dsp:nvSpPr>
        <dsp:cNvPr id="0" name=""/>
        <dsp:cNvSpPr/>
      </dsp:nvSpPr>
      <dsp:spPr>
        <a:xfrm>
          <a:off x="5850042" y="3929461"/>
          <a:ext cx="572072" cy="572072"/>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D79D97-C0D1-4D01-A68B-A0683101C85A}">
      <dsp:nvSpPr>
        <dsp:cNvPr id="0" name=""/>
        <dsp:cNvSpPr/>
      </dsp:nvSpPr>
      <dsp:spPr>
        <a:xfrm>
          <a:off x="6840601" y="3722331"/>
          <a:ext cx="2324924" cy="986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44550">
            <a:lnSpc>
              <a:spcPct val="100000"/>
            </a:lnSpc>
            <a:spcBef>
              <a:spcPct val="0"/>
            </a:spcBef>
            <a:spcAft>
              <a:spcPct val="35000"/>
            </a:spcAft>
            <a:buNone/>
          </a:pPr>
          <a:r>
            <a:rPr lang="en-US" sz="1900" kern="1200" baseline="0"/>
            <a:t>SSMS includes the basic UI tooling</a:t>
          </a:r>
          <a:endParaRPr lang="en-US" sz="1900" kern="1200"/>
        </a:p>
      </dsp:txBody>
      <dsp:txXfrm>
        <a:off x="6840601" y="3722331"/>
        <a:ext cx="2324924" cy="98633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0B9E45-5C65-4B33-BDAD-AD64DEB6AEB3}">
      <dsp:nvSpPr>
        <dsp:cNvPr id="0" name=""/>
        <dsp:cNvSpPr/>
      </dsp:nvSpPr>
      <dsp:spPr>
        <a:xfrm>
          <a:off x="0" y="199677"/>
          <a:ext cx="3400226" cy="2040136"/>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Query Performance Insight</a:t>
          </a:r>
          <a:endParaRPr lang="en-US" sz="2400" kern="1200" dirty="0"/>
        </a:p>
      </dsp:txBody>
      <dsp:txXfrm>
        <a:off x="0" y="199677"/>
        <a:ext cx="3400226" cy="2040136"/>
      </dsp:txXfrm>
    </dsp:sp>
    <dsp:sp modelId="{159B3F54-F78F-49D5-8168-66BCBCC4F024}">
      <dsp:nvSpPr>
        <dsp:cNvPr id="0" name=""/>
        <dsp:cNvSpPr/>
      </dsp:nvSpPr>
      <dsp:spPr>
        <a:xfrm>
          <a:off x="3740249" y="199677"/>
          <a:ext cx="3400226" cy="2040136"/>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utomatic Tuning</a:t>
          </a:r>
          <a:endParaRPr lang="en-US" sz="2400" kern="1200" dirty="0"/>
        </a:p>
      </dsp:txBody>
      <dsp:txXfrm>
        <a:off x="3740249" y="199677"/>
        <a:ext cx="3400226" cy="2040136"/>
      </dsp:txXfrm>
    </dsp:sp>
    <dsp:sp modelId="{BC4616A9-3AEB-4983-8205-873F8F416D40}">
      <dsp:nvSpPr>
        <dsp:cNvPr id="0" name=""/>
        <dsp:cNvSpPr/>
      </dsp:nvSpPr>
      <dsp:spPr>
        <a:xfrm>
          <a:off x="7480499" y="199677"/>
          <a:ext cx="3400226" cy="2040136"/>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ntelligent Insights</a:t>
          </a:r>
          <a:endParaRPr lang="en-US" sz="2400" kern="1200" dirty="0"/>
        </a:p>
      </dsp:txBody>
      <dsp:txXfrm>
        <a:off x="7480499" y="199677"/>
        <a:ext cx="3400226" cy="2040136"/>
      </dsp:txXfrm>
    </dsp:sp>
    <dsp:sp modelId="{619AA22D-AA01-4F5B-B719-95177629AAA9}">
      <dsp:nvSpPr>
        <dsp:cNvPr id="0" name=""/>
        <dsp:cNvSpPr/>
      </dsp:nvSpPr>
      <dsp:spPr>
        <a:xfrm>
          <a:off x="0" y="2579836"/>
          <a:ext cx="3400226" cy="2040136"/>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Extended Events</a:t>
          </a:r>
          <a:endParaRPr lang="en-US" sz="2400" kern="1200" dirty="0"/>
        </a:p>
      </dsp:txBody>
      <dsp:txXfrm>
        <a:off x="0" y="2579836"/>
        <a:ext cx="3400226" cy="2040136"/>
      </dsp:txXfrm>
    </dsp:sp>
    <dsp:sp modelId="{C843A49D-5ECB-4DF0-AA63-25A488D88F59}">
      <dsp:nvSpPr>
        <dsp:cNvPr id="0" name=""/>
        <dsp:cNvSpPr/>
      </dsp:nvSpPr>
      <dsp:spPr>
        <a:xfrm>
          <a:off x="3740249" y="2579836"/>
          <a:ext cx="3400226" cy="2040136"/>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Dynamic Management Views (DMVs)</a:t>
          </a:r>
          <a:endParaRPr lang="en-US" sz="2400" kern="1200" dirty="0"/>
        </a:p>
      </dsp:txBody>
      <dsp:txXfrm>
        <a:off x="3740249" y="2579836"/>
        <a:ext cx="3400226" cy="2040136"/>
      </dsp:txXfrm>
    </dsp:sp>
    <dsp:sp modelId="{92BD9CE9-BA16-426E-A4DE-AB23AEA98095}">
      <dsp:nvSpPr>
        <dsp:cNvPr id="0" name=""/>
        <dsp:cNvSpPr/>
      </dsp:nvSpPr>
      <dsp:spPr>
        <a:xfrm>
          <a:off x="7480499" y="2579836"/>
          <a:ext cx="3400226" cy="2040136"/>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zure Database Portal Dashboard</a:t>
          </a:r>
          <a:endParaRPr lang="en-US" sz="2400" kern="1200" dirty="0"/>
        </a:p>
      </dsp:txBody>
      <dsp:txXfrm>
        <a:off x="7480499" y="2579836"/>
        <a:ext cx="3400226" cy="204013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0279C1-7D69-49D8-9188-918F69126F58}">
      <dsp:nvSpPr>
        <dsp:cNvPr id="0" name=""/>
        <dsp:cNvSpPr/>
      </dsp:nvSpPr>
      <dsp:spPr>
        <a:xfrm rot="5400000">
          <a:off x="7028477" y="-3016693"/>
          <a:ext cx="740832" cy="696366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dirty="0"/>
            <a:t>Predefined instrumentation points in the code.</a:t>
          </a:r>
          <a:endParaRPr lang="en-US" sz="1800" kern="1200" dirty="0"/>
        </a:p>
      </dsp:txBody>
      <dsp:txXfrm rot="-5400000">
        <a:off x="3917061" y="130887"/>
        <a:ext cx="6927500" cy="668504"/>
      </dsp:txXfrm>
    </dsp:sp>
    <dsp:sp modelId="{7DC9B0B9-578B-4B8D-ACD8-F16982B4490A}">
      <dsp:nvSpPr>
        <dsp:cNvPr id="0" name=""/>
        <dsp:cNvSpPr/>
      </dsp:nvSpPr>
      <dsp:spPr>
        <a:xfrm>
          <a:off x="0" y="2118"/>
          <a:ext cx="3917061" cy="92604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baseline="0"/>
            <a:t>Event</a:t>
          </a:r>
          <a:endParaRPr lang="en-US" sz="4300" kern="1200"/>
        </a:p>
      </dsp:txBody>
      <dsp:txXfrm>
        <a:off x="45206" y="47324"/>
        <a:ext cx="3826649" cy="835629"/>
      </dsp:txXfrm>
    </dsp:sp>
    <dsp:sp modelId="{D1B1B053-A6BC-48DB-953D-6F5EF07BFE05}">
      <dsp:nvSpPr>
        <dsp:cNvPr id="0" name=""/>
        <dsp:cNvSpPr/>
      </dsp:nvSpPr>
      <dsp:spPr>
        <a:xfrm rot="5400000">
          <a:off x="7028477" y="-2044350"/>
          <a:ext cx="740832" cy="696366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a:t>Event independent data to add to the collection.</a:t>
          </a:r>
          <a:endParaRPr lang="en-US" sz="1800" kern="1200"/>
        </a:p>
        <a:p>
          <a:pPr marL="171450" lvl="1" indent="-171450" algn="l" defTabSz="800100">
            <a:lnSpc>
              <a:spcPct val="90000"/>
            </a:lnSpc>
            <a:spcBef>
              <a:spcPct val="0"/>
            </a:spcBef>
            <a:spcAft>
              <a:spcPct val="15000"/>
            </a:spcAft>
            <a:buChar char="•"/>
          </a:pPr>
          <a:r>
            <a:rPr lang="en-US" sz="1800" kern="1200" baseline="0"/>
            <a:t>For example: sql_text, create_dump_all_threads</a:t>
          </a:r>
          <a:endParaRPr lang="en-US" sz="1800" kern="1200"/>
        </a:p>
      </dsp:txBody>
      <dsp:txXfrm rot="-5400000">
        <a:off x="3917061" y="1103230"/>
        <a:ext cx="6927500" cy="668504"/>
      </dsp:txXfrm>
    </dsp:sp>
    <dsp:sp modelId="{9C1F4515-A98C-48F3-B780-C1D6F149BBAB}">
      <dsp:nvSpPr>
        <dsp:cNvPr id="0" name=""/>
        <dsp:cNvSpPr/>
      </dsp:nvSpPr>
      <dsp:spPr>
        <a:xfrm>
          <a:off x="0" y="974461"/>
          <a:ext cx="3917061" cy="92604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baseline="0" dirty="0"/>
            <a:t>Actions</a:t>
          </a:r>
          <a:endParaRPr lang="en-US" sz="4300" kern="1200" dirty="0"/>
        </a:p>
      </dsp:txBody>
      <dsp:txXfrm>
        <a:off x="45206" y="1019667"/>
        <a:ext cx="3826649" cy="835629"/>
      </dsp:txXfrm>
    </dsp:sp>
    <dsp:sp modelId="{63F27776-0098-4289-B877-8ABC13B38A1B}">
      <dsp:nvSpPr>
        <dsp:cNvPr id="0" name=""/>
        <dsp:cNvSpPr/>
      </dsp:nvSpPr>
      <dsp:spPr>
        <a:xfrm rot="5400000">
          <a:off x="7028477" y="-1072007"/>
          <a:ext cx="740832" cy="696366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a:t>Independent fields for filtering.</a:t>
          </a:r>
          <a:endParaRPr lang="en-US" sz="1800" kern="1200"/>
        </a:p>
        <a:p>
          <a:pPr marL="171450" lvl="1" indent="-171450" algn="l" defTabSz="800100">
            <a:lnSpc>
              <a:spcPct val="90000"/>
            </a:lnSpc>
            <a:spcBef>
              <a:spcPct val="0"/>
            </a:spcBef>
            <a:spcAft>
              <a:spcPct val="15000"/>
            </a:spcAft>
            <a:buChar char="•"/>
          </a:pPr>
          <a:r>
            <a:rPr lang="en-US" sz="1800" kern="1200" baseline="0"/>
            <a:t>For example: database_id, session_id</a:t>
          </a:r>
          <a:endParaRPr lang="en-US" sz="1800" kern="1200"/>
        </a:p>
      </dsp:txBody>
      <dsp:txXfrm rot="-5400000">
        <a:off x="3917061" y="2075573"/>
        <a:ext cx="6927500" cy="668504"/>
      </dsp:txXfrm>
    </dsp:sp>
    <dsp:sp modelId="{4C0021D0-AC09-453B-8070-E7D22D0D7636}">
      <dsp:nvSpPr>
        <dsp:cNvPr id="0" name=""/>
        <dsp:cNvSpPr/>
      </dsp:nvSpPr>
      <dsp:spPr>
        <a:xfrm>
          <a:off x="0" y="1946804"/>
          <a:ext cx="3917061" cy="92604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baseline="0"/>
            <a:t>Predicates</a:t>
          </a:r>
          <a:endParaRPr lang="en-US" sz="4300" kern="1200"/>
        </a:p>
      </dsp:txBody>
      <dsp:txXfrm>
        <a:off x="45206" y="1992010"/>
        <a:ext cx="3826649" cy="835629"/>
      </dsp:txXfrm>
    </dsp:sp>
    <dsp:sp modelId="{E0204C3B-AF99-4527-B5A8-E300522B13AF}">
      <dsp:nvSpPr>
        <dsp:cNvPr id="0" name=""/>
        <dsp:cNvSpPr/>
      </dsp:nvSpPr>
      <dsp:spPr>
        <a:xfrm rot="5400000">
          <a:off x="7028477" y="-99664"/>
          <a:ext cx="740832" cy="696366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a:t>Ring Buffer, Event Counter, Event File</a:t>
          </a:r>
          <a:endParaRPr lang="en-US" sz="1800" kern="1200"/>
        </a:p>
      </dsp:txBody>
      <dsp:txXfrm rot="-5400000">
        <a:off x="3917061" y="3047916"/>
        <a:ext cx="6927500" cy="668504"/>
      </dsp:txXfrm>
    </dsp:sp>
    <dsp:sp modelId="{723C69E9-DD1F-4802-B5D1-DAD24A0B732A}">
      <dsp:nvSpPr>
        <dsp:cNvPr id="0" name=""/>
        <dsp:cNvSpPr/>
      </dsp:nvSpPr>
      <dsp:spPr>
        <a:xfrm>
          <a:off x="0" y="2919147"/>
          <a:ext cx="3917061" cy="92604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baseline="0"/>
            <a:t>Targets</a:t>
          </a:r>
          <a:endParaRPr lang="en-US" sz="4300" kern="1200"/>
        </a:p>
      </dsp:txBody>
      <dsp:txXfrm>
        <a:off x="45206" y="2964353"/>
        <a:ext cx="3826649" cy="835629"/>
      </dsp:txXfrm>
    </dsp:sp>
    <dsp:sp modelId="{4E062B96-6645-4665-A421-24745FA760FB}">
      <dsp:nvSpPr>
        <dsp:cNvPr id="0" name=""/>
        <dsp:cNvSpPr/>
      </dsp:nvSpPr>
      <dsp:spPr>
        <a:xfrm rot="5400000">
          <a:off x="7028477" y="872679"/>
          <a:ext cx="740832" cy="696366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baseline="0"/>
            <a:t>Maps “codes” to meaningful names.</a:t>
          </a:r>
          <a:endParaRPr lang="en-US" sz="1800" kern="1200"/>
        </a:p>
        <a:p>
          <a:pPr marL="171450" lvl="1" indent="-171450" algn="l" defTabSz="800100">
            <a:lnSpc>
              <a:spcPct val="90000"/>
            </a:lnSpc>
            <a:spcBef>
              <a:spcPct val="0"/>
            </a:spcBef>
            <a:spcAft>
              <a:spcPct val="15000"/>
            </a:spcAft>
            <a:buChar char="•"/>
          </a:pPr>
          <a:r>
            <a:rPr lang="en-US" sz="1800" kern="1200" baseline="0"/>
            <a:t>For example: wait_type</a:t>
          </a:r>
          <a:endParaRPr lang="en-US" sz="1800" kern="1200"/>
        </a:p>
      </dsp:txBody>
      <dsp:txXfrm rot="-5400000">
        <a:off x="3917061" y="4020259"/>
        <a:ext cx="6927500" cy="668504"/>
      </dsp:txXfrm>
    </dsp:sp>
    <dsp:sp modelId="{568908A0-9C4D-432B-AEAC-C5FBCD6697BA}">
      <dsp:nvSpPr>
        <dsp:cNvPr id="0" name=""/>
        <dsp:cNvSpPr/>
      </dsp:nvSpPr>
      <dsp:spPr>
        <a:xfrm>
          <a:off x="0" y="3891490"/>
          <a:ext cx="3917061" cy="92604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a:lnSpc>
              <a:spcPct val="90000"/>
            </a:lnSpc>
            <a:spcBef>
              <a:spcPct val="0"/>
            </a:spcBef>
            <a:spcAft>
              <a:spcPct val="35000"/>
            </a:spcAft>
            <a:buNone/>
          </a:pPr>
          <a:r>
            <a:rPr lang="en-US" sz="4300" kern="1200" baseline="0"/>
            <a:t>Maps</a:t>
          </a:r>
          <a:endParaRPr lang="en-US" sz="4300" kern="1200"/>
        </a:p>
      </dsp:txBody>
      <dsp:txXfrm>
        <a:off x="45206" y="3936696"/>
        <a:ext cx="3826649" cy="835629"/>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767B5A-9151-4F5B-9557-703EBF63FA06}">
      <dsp:nvSpPr>
        <dsp:cNvPr id="0" name=""/>
        <dsp:cNvSpPr/>
      </dsp:nvSpPr>
      <dsp:spPr>
        <a:xfrm>
          <a:off x="4559651" y="-152188"/>
          <a:ext cx="1761423" cy="176142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Slow Query Performance</a:t>
          </a:r>
          <a:endParaRPr lang="en-US" sz="1600" kern="1200"/>
        </a:p>
      </dsp:txBody>
      <dsp:txXfrm>
        <a:off x="4817605" y="105766"/>
        <a:ext cx="1245515" cy="1245515"/>
      </dsp:txXfrm>
    </dsp:sp>
    <dsp:sp modelId="{661F249F-EE55-4AF9-9CC2-5292F24B97D1}">
      <dsp:nvSpPr>
        <dsp:cNvPr id="0" name=""/>
        <dsp:cNvSpPr/>
      </dsp:nvSpPr>
      <dsp:spPr>
        <a:xfrm rot="2160000">
          <a:off x="6183265" y="1069747"/>
          <a:ext cx="271736" cy="594480"/>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6191050" y="1164685"/>
        <a:ext cx="190215" cy="356688"/>
      </dsp:txXfrm>
    </dsp:sp>
    <dsp:sp modelId="{758A3713-F5C1-4C6A-AA35-AB409C237162}">
      <dsp:nvSpPr>
        <dsp:cNvPr id="0" name=""/>
        <dsp:cNvSpPr/>
      </dsp:nvSpPr>
      <dsp:spPr>
        <a:xfrm>
          <a:off x="6327475" y="1132211"/>
          <a:ext cx="1761423" cy="176142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High Waits</a:t>
          </a:r>
          <a:endParaRPr lang="en-US" sz="1600" kern="1200"/>
        </a:p>
      </dsp:txBody>
      <dsp:txXfrm>
        <a:off x="6585429" y="1390165"/>
        <a:ext cx="1245515" cy="1245515"/>
      </dsp:txXfrm>
    </dsp:sp>
    <dsp:sp modelId="{8CF106F9-F290-4408-BD4B-68DBC5A7215D}">
      <dsp:nvSpPr>
        <dsp:cNvPr id="0" name=""/>
        <dsp:cNvSpPr/>
      </dsp:nvSpPr>
      <dsp:spPr>
        <a:xfrm rot="6480000">
          <a:off x="6736659" y="2748739"/>
          <a:ext cx="271736" cy="594480"/>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6790015" y="2828869"/>
        <a:ext cx="190215" cy="356688"/>
      </dsp:txXfrm>
    </dsp:sp>
    <dsp:sp modelId="{FEB1ECDE-3376-4600-8706-C4243B3CC794}">
      <dsp:nvSpPr>
        <dsp:cNvPr id="0" name=""/>
        <dsp:cNvSpPr/>
      </dsp:nvSpPr>
      <dsp:spPr>
        <a:xfrm>
          <a:off x="5652226" y="3210414"/>
          <a:ext cx="1761423" cy="1761423"/>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Blocking</a:t>
          </a:r>
          <a:endParaRPr lang="en-US" sz="1600" kern="1200"/>
        </a:p>
      </dsp:txBody>
      <dsp:txXfrm>
        <a:off x="5910180" y="3468368"/>
        <a:ext cx="1245515" cy="1245515"/>
      </dsp:txXfrm>
    </dsp:sp>
    <dsp:sp modelId="{E07E9706-5AD4-4B7F-958D-2283864DF303}">
      <dsp:nvSpPr>
        <dsp:cNvPr id="0" name=""/>
        <dsp:cNvSpPr/>
      </dsp:nvSpPr>
      <dsp:spPr>
        <a:xfrm rot="10800000">
          <a:off x="5310850" y="3793886"/>
          <a:ext cx="271736" cy="594480"/>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5392371" y="3912782"/>
        <a:ext cx="190215" cy="356688"/>
      </dsp:txXfrm>
    </dsp:sp>
    <dsp:sp modelId="{734B4AB0-FCE2-4BDA-B343-ADE4DA0172FF}">
      <dsp:nvSpPr>
        <dsp:cNvPr id="0" name=""/>
        <dsp:cNvSpPr/>
      </dsp:nvSpPr>
      <dsp:spPr>
        <a:xfrm>
          <a:off x="3467075" y="3210414"/>
          <a:ext cx="1761423" cy="1761423"/>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baseline="0"/>
            <a:t>Deadlocks</a:t>
          </a:r>
          <a:endParaRPr lang="en-US" sz="1600" kern="1200"/>
        </a:p>
      </dsp:txBody>
      <dsp:txXfrm>
        <a:off x="3725029" y="3468368"/>
        <a:ext cx="1245515" cy="1245515"/>
      </dsp:txXfrm>
    </dsp:sp>
    <dsp:sp modelId="{1C70D44A-A4FB-47A7-9A5B-E1FD8B9604F6}">
      <dsp:nvSpPr>
        <dsp:cNvPr id="0" name=""/>
        <dsp:cNvSpPr/>
      </dsp:nvSpPr>
      <dsp:spPr>
        <a:xfrm rot="15120000">
          <a:off x="3876258" y="2760829"/>
          <a:ext cx="271736" cy="594480"/>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10800000">
        <a:off x="3929614" y="2918491"/>
        <a:ext cx="190215" cy="356688"/>
      </dsp:txXfrm>
    </dsp:sp>
    <dsp:sp modelId="{528F03D9-CA44-4508-9D34-12EEEA826110}">
      <dsp:nvSpPr>
        <dsp:cNvPr id="0" name=""/>
        <dsp:cNvSpPr/>
      </dsp:nvSpPr>
      <dsp:spPr>
        <a:xfrm>
          <a:off x="2791826" y="1132211"/>
          <a:ext cx="1761423" cy="1761423"/>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baseline="0" dirty="0"/>
            <a:t>High CPU</a:t>
          </a:r>
          <a:endParaRPr lang="en-US" sz="1600" kern="1200" dirty="0"/>
        </a:p>
      </dsp:txBody>
      <dsp:txXfrm>
        <a:off x="3049780" y="1390165"/>
        <a:ext cx="1245515" cy="1245515"/>
      </dsp:txXfrm>
    </dsp:sp>
    <dsp:sp modelId="{2BF6A18B-86C4-402D-87E2-5FC603D90A89}">
      <dsp:nvSpPr>
        <dsp:cNvPr id="0" name=""/>
        <dsp:cNvSpPr/>
      </dsp:nvSpPr>
      <dsp:spPr>
        <a:xfrm rot="19440000">
          <a:off x="4415440" y="1077219"/>
          <a:ext cx="271736" cy="594480"/>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4423225" y="1220073"/>
        <a:ext cx="190215" cy="356688"/>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31C993-934A-4ED4-A19C-A18047CCA6D1}">
      <dsp:nvSpPr>
        <dsp:cNvPr id="0" name=""/>
        <dsp:cNvSpPr/>
      </dsp:nvSpPr>
      <dsp:spPr>
        <a:xfrm>
          <a:off x="816054" y="0"/>
          <a:ext cx="9248617" cy="481965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FE972B3-44D1-417B-B3C8-2136F2CBF0E7}">
      <dsp:nvSpPr>
        <dsp:cNvPr id="0" name=""/>
        <dsp:cNvSpPr/>
      </dsp:nvSpPr>
      <dsp:spPr>
        <a:xfrm>
          <a:off x="0" y="1445894"/>
          <a:ext cx="3264217" cy="19278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etup a storage account and container.</a:t>
          </a:r>
          <a:endParaRPr lang="en-US" sz="2400" kern="1200" dirty="0"/>
        </a:p>
      </dsp:txBody>
      <dsp:txXfrm>
        <a:off x="94110" y="1540004"/>
        <a:ext cx="3075997" cy="1739640"/>
      </dsp:txXfrm>
    </dsp:sp>
    <dsp:sp modelId="{852B3AD2-66CF-4EA4-91B3-C25C88C10FFD}">
      <dsp:nvSpPr>
        <dsp:cNvPr id="0" name=""/>
        <dsp:cNvSpPr/>
      </dsp:nvSpPr>
      <dsp:spPr>
        <a:xfrm>
          <a:off x="3808254" y="1445894"/>
          <a:ext cx="3264217" cy="19278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Enable access to storage from SQL Database.</a:t>
          </a:r>
          <a:endParaRPr lang="en-US" sz="2400" kern="1200" dirty="0"/>
        </a:p>
      </dsp:txBody>
      <dsp:txXfrm>
        <a:off x="3902364" y="1540004"/>
        <a:ext cx="3075997" cy="1739640"/>
      </dsp:txXfrm>
    </dsp:sp>
    <dsp:sp modelId="{20D770EA-F7FD-4F9C-9296-0AC2688E505E}">
      <dsp:nvSpPr>
        <dsp:cNvPr id="0" name=""/>
        <dsp:cNvSpPr/>
      </dsp:nvSpPr>
      <dsp:spPr>
        <a:xfrm>
          <a:off x="7616508" y="1445894"/>
          <a:ext cx="3264217" cy="19278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ollect Data using Extended Events.</a:t>
          </a:r>
          <a:endParaRPr lang="en-US" sz="2400" kern="1200" dirty="0"/>
        </a:p>
      </dsp:txBody>
      <dsp:txXfrm>
        <a:off x="7710618" y="1540004"/>
        <a:ext cx="3075997" cy="1739640"/>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A2035E-0D98-43D6-8C2B-90DD0BA12158}">
      <dsp:nvSpPr>
        <dsp:cNvPr id="0" name=""/>
        <dsp:cNvSpPr/>
      </dsp:nvSpPr>
      <dsp:spPr>
        <a:xfrm>
          <a:off x="5312" y="1191956"/>
          <a:ext cx="1646984" cy="243573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You need to create a Shared Acces Signature on the Storage account.</a:t>
          </a:r>
          <a:endParaRPr lang="en-US" sz="1800" kern="1200"/>
        </a:p>
      </dsp:txBody>
      <dsp:txXfrm>
        <a:off x="53551" y="1240195"/>
        <a:ext cx="1550506" cy="2339258"/>
      </dsp:txXfrm>
    </dsp:sp>
    <dsp:sp modelId="{0D8D8A94-144B-41D1-BE97-C83924B1F547}">
      <dsp:nvSpPr>
        <dsp:cNvPr id="0" name=""/>
        <dsp:cNvSpPr/>
      </dsp:nvSpPr>
      <dsp:spPr>
        <a:xfrm>
          <a:off x="1816996" y="2205598"/>
          <a:ext cx="349160" cy="40845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816996" y="2287288"/>
        <a:ext cx="244412" cy="245072"/>
      </dsp:txXfrm>
    </dsp:sp>
    <dsp:sp modelId="{F1480059-683D-4909-B8B3-9A27511204A5}">
      <dsp:nvSpPr>
        <dsp:cNvPr id="0" name=""/>
        <dsp:cNvSpPr/>
      </dsp:nvSpPr>
      <dsp:spPr>
        <a:xfrm>
          <a:off x="2311091" y="1191956"/>
          <a:ext cx="1646984" cy="243573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It provides delegated access to resources in your storage account. </a:t>
          </a:r>
          <a:endParaRPr lang="en-US" sz="1800" kern="1200"/>
        </a:p>
      </dsp:txBody>
      <dsp:txXfrm>
        <a:off x="2359330" y="1240195"/>
        <a:ext cx="1550506" cy="2339258"/>
      </dsp:txXfrm>
    </dsp:sp>
    <dsp:sp modelId="{366C3DB9-CCDF-4767-A49E-42C2391F9BB6}">
      <dsp:nvSpPr>
        <dsp:cNvPr id="0" name=""/>
        <dsp:cNvSpPr/>
      </dsp:nvSpPr>
      <dsp:spPr>
        <a:xfrm>
          <a:off x="4122775" y="2205598"/>
          <a:ext cx="349160" cy="40845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122775" y="2287288"/>
        <a:ext cx="244412" cy="245072"/>
      </dsp:txXfrm>
    </dsp:sp>
    <dsp:sp modelId="{81C271A1-B8E6-41B9-B033-8E6CDBBBFEBD}">
      <dsp:nvSpPr>
        <dsp:cNvPr id="0" name=""/>
        <dsp:cNvSpPr/>
      </dsp:nvSpPr>
      <dsp:spPr>
        <a:xfrm>
          <a:off x="4616870" y="1191956"/>
          <a:ext cx="1646984" cy="243573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Grant client's access to resources in your storage account, without sharing your account keys. </a:t>
          </a:r>
          <a:endParaRPr lang="en-US" sz="1800" kern="1200"/>
        </a:p>
      </dsp:txBody>
      <dsp:txXfrm>
        <a:off x="4665109" y="1240195"/>
        <a:ext cx="1550506" cy="2339258"/>
      </dsp:txXfrm>
    </dsp:sp>
    <dsp:sp modelId="{6E8A2EA4-332D-4381-88D2-7431756F7C4A}">
      <dsp:nvSpPr>
        <dsp:cNvPr id="0" name=""/>
        <dsp:cNvSpPr/>
      </dsp:nvSpPr>
      <dsp:spPr>
        <a:xfrm>
          <a:off x="6428553" y="2205598"/>
          <a:ext cx="349160" cy="40845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6428553" y="2287288"/>
        <a:ext cx="244412" cy="245072"/>
      </dsp:txXfrm>
    </dsp:sp>
    <dsp:sp modelId="{8B02AB5B-19BD-4660-A63B-AE2313BD3D54}">
      <dsp:nvSpPr>
        <dsp:cNvPr id="0" name=""/>
        <dsp:cNvSpPr/>
      </dsp:nvSpPr>
      <dsp:spPr>
        <a:xfrm>
          <a:off x="6922649" y="1191956"/>
          <a:ext cx="1646984" cy="243573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For Xevents you need to Read, Write &amp; List permissions.</a:t>
          </a:r>
          <a:endParaRPr lang="en-US" sz="1800" kern="1200"/>
        </a:p>
      </dsp:txBody>
      <dsp:txXfrm>
        <a:off x="6970888" y="1240195"/>
        <a:ext cx="1550506" cy="2339258"/>
      </dsp:txXfrm>
    </dsp:sp>
    <dsp:sp modelId="{32966E18-608D-4B5F-B4FB-CA3D1BAB35BF}">
      <dsp:nvSpPr>
        <dsp:cNvPr id="0" name=""/>
        <dsp:cNvSpPr/>
      </dsp:nvSpPr>
      <dsp:spPr>
        <a:xfrm>
          <a:off x="8734332" y="2205598"/>
          <a:ext cx="349160" cy="40845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8734332" y="2287288"/>
        <a:ext cx="244412" cy="245072"/>
      </dsp:txXfrm>
    </dsp:sp>
    <dsp:sp modelId="{66488BD8-EE16-4789-801C-5CCEEA5A2382}">
      <dsp:nvSpPr>
        <dsp:cNvPr id="0" name=""/>
        <dsp:cNvSpPr/>
      </dsp:nvSpPr>
      <dsp:spPr>
        <a:xfrm>
          <a:off x="9228428" y="1191956"/>
          <a:ext cx="1646984" cy="243573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baseline="0"/>
            <a:t>Use Azure Storage Explorer or Azure Portal to create SAS Token.</a:t>
          </a:r>
          <a:endParaRPr lang="en-US" sz="1800" kern="1200"/>
        </a:p>
      </dsp:txBody>
      <dsp:txXfrm>
        <a:off x="9276667" y="1240195"/>
        <a:ext cx="1550506" cy="2339258"/>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2D588D-C629-4606-9D37-874C8CFA4CB1}">
      <dsp:nvSpPr>
        <dsp:cNvPr id="0" name=""/>
        <dsp:cNvSpPr/>
      </dsp:nvSpPr>
      <dsp:spPr>
        <a:xfrm>
          <a:off x="0" y="406521"/>
          <a:ext cx="10774130" cy="8127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6192" tIns="499872" rIns="836192"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latin typeface="Consolas" panose="020B0609020204030204" pitchFamily="49" charset="0"/>
              <a:ea typeface="+mn-ea"/>
              <a:cs typeface="Times New Roman" panose="02020603050405020304" pitchFamily="18" charset="0"/>
            </a:rPr>
            <a:t>CREATE MASTER KEY ENCRYPTION BY PASSWORD = 'xxxxxx!'; </a:t>
          </a:r>
          <a:endParaRPr lang="en-US" sz="1400" kern="1200" dirty="0">
            <a:latin typeface="Calibri" panose="020F0502020204030204" pitchFamily="34" charset="0"/>
            <a:ea typeface="+mn-ea"/>
            <a:cs typeface="Times New Roman" panose="02020603050405020304" pitchFamily="18" charset="0"/>
          </a:endParaRPr>
        </a:p>
      </dsp:txBody>
      <dsp:txXfrm>
        <a:off x="0" y="406521"/>
        <a:ext cx="10774130" cy="812700"/>
      </dsp:txXfrm>
    </dsp:sp>
    <dsp:sp modelId="{F0EBDF48-0148-4351-98D4-70D6527B53EF}">
      <dsp:nvSpPr>
        <dsp:cNvPr id="0" name=""/>
        <dsp:cNvSpPr/>
      </dsp:nvSpPr>
      <dsp:spPr>
        <a:xfrm>
          <a:off x="538706" y="52281"/>
          <a:ext cx="7541891" cy="708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066" tIns="0" rIns="285066" bIns="0" numCol="1" spcCol="1270" anchor="ctr" anchorCtr="0">
          <a:noAutofit/>
        </a:bodyPr>
        <a:lstStyle/>
        <a:p>
          <a:pPr marL="0" lvl="0" indent="0" algn="l" defTabSz="800100">
            <a:lnSpc>
              <a:spcPct val="90000"/>
            </a:lnSpc>
            <a:spcBef>
              <a:spcPct val="0"/>
            </a:spcBef>
            <a:spcAft>
              <a:spcPct val="35000"/>
            </a:spcAft>
            <a:buNone/>
          </a:pPr>
          <a:r>
            <a:rPr lang="en-US" sz="1800" kern="1200">
              <a:latin typeface="Calibri" panose="020F0502020204030204" pitchFamily="34" charset="0"/>
              <a:ea typeface="+mn-ea"/>
              <a:cs typeface="Times New Roman" panose="02020603050405020304" pitchFamily="18" charset="0"/>
            </a:rPr>
            <a:t>Create a master key specifying a strong password</a:t>
          </a:r>
          <a:endParaRPr lang="en-US" sz="1800" kern="1200" dirty="0">
            <a:latin typeface="Segoe UI"/>
            <a:ea typeface="+mn-ea"/>
            <a:cs typeface="+mn-cs"/>
          </a:endParaRPr>
        </a:p>
      </dsp:txBody>
      <dsp:txXfrm>
        <a:off x="573291" y="86866"/>
        <a:ext cx="7472721" cy="639310"/>
      </dsp:txXfrm>
    </dsp:sp>
    <dsp:sp modelId="{D89324D4-24F8-418A-99DD-0E803596F291}">
      <dsp:nvSpPr>
        <dsp:cNvPr id="0" name=""/>
        <dsp:cNvSpPr/>
      </dsp:nvSpPr>
      <dsp:spPr>
        <a:xfrm>
          <a:off x="0" y="1703061"/>
          <a:ext cx="10774130" cy="1171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6192" tIns="499872" rIns="836192"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latin typeface="Consolas" panose="020B0609020204030204" pitchFamily="49" charset="0"/>
              <a:ea typeface="+mn-ea"/>
              <a:cs typeface="Times New Roman" panose="02020603050405020304" pitchFamily="18" charset="0"/>
            </a:rPr>
            <a:t>CREATE DATABASE SCOPED CREDENTIAL [</a:t>
          </a:r>
          <a:r>
            <a:rPr lang="en-US" sz="1400" u="sng" kern="1200" dirty="0">
              <a:latin typeface="Consolas" panose="020B0609020204030204" pitchFamily="49" charset="0"/>
              <a:ea typeface="+mn-ea"/>
              <a:cs typeface="Times New Roman" panose="02020603050405020304" pitchFamily="18" charset="0"/>
              <a:hlinkClick xmlns:r="http://schemas.openxmlformats.org/officeDocument/2006/relationships" r:id="rId1"/>
            </a:rPr>
            <a:t>https://xxxx.blob.core.windows.net/xe-container</a:t>
          </a:r>
          <a:r>
            <a:rPr lang="en-US" sz="1400" kern="1200" dirty="0">
              <a:latin typeface="Consolas" panose="020B0609020204030204" pitchFamily="49" charset="0"/>
              <a:ea typeface="+mn-ea"/>
              <a:cs typeface="Times New Roman" panose="02020603050405020304" pitchFamily="18" charset="0"/>
            </a:rPr>
            <a:t>] WITH IDENTITY='SHARED ACCESS SIGNATURE', SECRET = '</a:t>
          </a:r>
          <a:r>
            <a:rPr lang="en-US" sz="1400" kern="1200" dirty="0" err="1">
              <a:latin typeface="Consolas" panose="020B0609020204030204" pitchFamily="49" charset="0"/>
              <a:ea typeface="+mn-ea"/>
              <a:cs typeface="Times New Roman" panose="02020603050405020304" pitchFamily="18" charset="0"/>
            </a:rPr>
            <a:t>sv</a:t>
          </a:r>
          <a:r>
            <a:rPr lang="en-US" sz="1400" kern="1200" dirty="0">
              <a:latin typeface="Consolas" panose="020B0609020204030204" pitchFamily="49" charset="0"/>
              <a:ea typeface="+mn-ea"/>
              <a:cs typeface="Times New Roman" panose="02020603050405020304" pitchFamily="18" charset="0"/>
            </a:rPr>
            <a:t>=2014-02-14&amp;sr=</a:t>
          </a:r>
          <a:r>
            <a:rPr lang="en-US" sz="1400" kern="1200" dirty="0" err="1">
              <a:latin typeface="Consolas" panose="020B0609020204030204" pitchFamily="49" charset="0"/>
              <a:ea typeface="+mn-ea"/>
              <a:cs typeface="Times New Roman" panose="02020603050405020304" pitchFamily="18" charset="0"/>
            </a:rPr>
            <a:t>c&amp;sig</a:t>
          </a:r>
          <a:r>
            <a:rPr lang="en-US" sz="1400" kern="1200" dirty="0">
              <a:latin typeface="Consolas" panose="020B0609020204030204" pitchFamily="49" charset="0"/>
              <a:ea typeface="+mn-ea"/>
              <a:cs typeface="Times New Roman" panose="02020603050405020304" pitchFamily="18" charset="0"/>
            </a:rPr>
            <a:t>=Hz2n9vs%3D&amp;st=2016-01-25T23%3A00%3A00Z&amp;se=2016-02-02T23%3A00%3A00Z&amp;sp=</a:t>
          </a:r>
          <a:r>
            <a:rPr lang="en-US" sz="1400" kern="1200" dirty="0" err="1">
              <a:latin typeface="Consolas" panose="020B0609020204030204" pitchFamily="49" charset="0"/>
              <a:ea typeface="+mn-ea"/>
              <a:cs typeface="Times New Roman" panose="02020603050405020304" pitchFamily="18" charset="0"/>
            </a:rPr>
            <a:t>rw</a:t>
          </a:r>
          <a:r>
            <a:rPr lang="en-US" sz="1400" kern="1200" dirty="0">
              <a:latin typeface="Consolas" panose="020B0609020204030204" pitchFamily="49" charset="0"/>
              <a:ea typeface="+mn-ea"/>
              <a:cs typeface="Times New Roman" panose="02020603050405020304" pitchFamily="18" charset="0"/>
            </a:rPr>
            <a:t>' </a:t>
          </a:r>
          <a:endParaRPr lang="en-US" sz="1400" kern="1200" dirty="0">
            <a:latin typeface="Calibri" panose="020F0502020204030204" pitchFamily="34" charset="0"/>
            <a:ea typeface="+mn-ea"/>
            <a:cs typeface="Times New Roman" panose="02020603050405020304" pitchFamily="18" charset="0"/>
          </a:endParaRPr>
        </a:p>
      </dsp:txBody>
      <dsp:txXfrm>
        <a:off x="0" y="1703061"/>
        <a:ext cx="10774130" cy="1171800"/>
      </dsp:txXfrm>
    </dsp:sp>
    <dsp:sp modelId="{498BBEA6-597F-40F7-A0D1-37D0C2418C43}">
      <dsp:nvSpPr>
        <dsp:cNvPr id="0" name=""/>
        <dsp:cNvSpPr/>
      </dsp:nvSpPr>
      <dsp:spPr>
        <a:xfrm>
          <a:off x="538706" y="1348821"/>
          <a:ext cx="7541891" cy="708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066" tIns="0" rIns="285066" bIns="0" numCol="1" spcCol="1270" anchor="ctr" anchorCtr="0">
          <a:noAutofit/>
        </a:bodyPr>
        <a:lstStyle/>
        <a:p>
          <a:pPr marL="0" lvl="0" indent="0" algn="l" defTabSz="800100">
            <a:lnSpc>
              <a:spcPct val="90000"/>
            </a:lnSpc>
            <a:spcBef>
              <a:spcPct val="0"/>
            </a:spcBef>
            <a:spcAft>
              <a:spcPct val="35000"/>
            </a:spcAft>
            <a:buNone/>
          </a:pPr>
          <a:r>
            <a:rPr lang="en-US" sz="1800" kern="1200">
              <a:latin typeface="Calibri" panose="020F0502020204030204" pitchFamily="34" charset="0"/>
              <a:ea typeface="+mn-ea"/>
              <a:cs typeface="Times New Roman" panose="02020603050405020304" pitchFamily="18" charset="0"/>
            </a:rPr>
            <a:t>Define the blob storage where the XEL will be saved. Use the SAS key that was provided by the definition of the blob storage</a:t>
          </a:r>
          <a:endParaRPr lang="en-US" sz="1800" kern="1200" dirty="0">
            <a:latin typeface="Calibri" panose="020F0502020204030204" pitchFamily="34" charset="0"/>
            <a:ea typeface="+mn-ea"/>
            <a:cs typeface="Times New Roman" panose="02020603050405020304" pitchFamily="18" charset="0"/>
          </a:endParaRPr>
        </a:p>
      </dsp:txBody>
      <dsp:txXfrm>
        <a:off x="573291" y="1383406"/>
        <a:ext cx="7472721" cy="639310"/>
      </dsp:txXfrm>
    </dsp:sp>
    <dsp:sp modelId="{D3A5F479-A9D3-4800-8FA5-ED092E27ADF3}">
      <dsp:nvSpPr>
        <dsp:cNvPr id="0" name=""/>
        <dsp:cNvSpPr/>
      </dsp:nvSpPr>
      <dsp:spPr>
        <a:xfrm>
          <a:off x="0" y="3358701"/>
          <a:ext cx="10774130" cy="151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6192" tIns="499872" rIns="836192"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latin typeface="Calibri" panose="020F0502020204030204" pitchFamily="34" charset="0"/>
              <a:ea typeface="+mn-ea"/>
              <a:cs typeface="Times New Roman" panose="02020603050405020304" pitchFamily="18" charset="0"/>
            </a:rPr>
            <a:t>Start the event and wait to reproduce the issue. </a:t>
          </a:r>
          <a:endParaRPr lang="en-US" sz="1400" kern="1200" dirty="0">
            <a:latin typeface="Calibri" panose="020F0502020204030204" pitchFamily="34" charset="0"/>
            <a:ea typeface="+mn-ea"/>
            <a:cs typeface="Times New Roman" panose="02020603050405020304" pitchFamily="18" charset="0"/>
          </a:endParaRPr>
        </a:p>
        <a:p>
          <a:pPr marL="114300" lvl="1" indent="-114300" algn="l" defTabSz="622300">
            <a:lnSpc>
              <a:spcPct val="90000"/>
            </a:lnSpc>
            <a:spcBef>
              <a:spcPct val="0"/>
            </a:spcBef>
            <a:spcAft>
              <a:spcPct val="15000"/>
            </a:spcAft>
            <a:buChar char="•"/>
          </a:pPr>
          <a:r>
            <a:rPr lang="en-US" sz="1400" kern="1200">
              <a:latin typeface="Calibri" panose="020F0502020204030204" pitchFamily="34" charset="0"/>
              <a:ea typeface="+mn-ea"/>
              <a:cs typeface="Times New Roman" panose="02020603050405020304" pitchFamily="18" charset="0"/>
            </a:rPr>
            <a:t>Once the issue has been reproduced, stop the event. </a:t>
          </a:r>
          <a:endParaRPr lang="en-US" sz="1400" kern="1200" dirty="0">
            <a:latin typeface="Calibri" panose="020F0502020204030204" pitchFamily="34" charset="0"/>
            <a:ea typeface="+mn-ea"/>
            <a:cs typeface="Times New Roman" panose="02020603050405020304" pitchFamily="18" charset="0"/>
          </a:endParaRPr>
        </a:p>
        <a:p>
          <a:pPr marL="114300" lvl="1" indent="-114300" algn="l" defTabSz="622300">
            <a:lnSpc>
              <a:spcPct val="90000"/>
            </a:lnSpc>
            <a:spcBef>
              <a:spcPct val="0"/>
            </a:spcBef>
            <a:spcAft>
              <a:spcPct val="15000"/>
            </a:spcAft>
            <a:buChar char="•"/>
          </a:pPr>
          <a:r>
            <a:rPr lang="en-US" sz="1400" kern="1200">
              <a:latin typeface="Calibri" panose="020F0502020204030204" pitchFamily="34" charset="0"/>
              <a:ea typeface="+mn-ea"/>
              <a:cs typeface="Times New Roman" panose="02020603050405020304" pitchFamily="18" charset="0"/>
            </a:rPr>
            <a:t>You should see XEL files in the storage container in Azure Storage Explorer.</a:t>
          </a:r>
          <a:endParaRPr lang="en-US" sz="1400" kern="1200" dirty="0">
            <a:latin typeface="Calibri" panose="020F0502020204030204" pitchFamily="34" charset="0"/>
            <a:ea typeface="+mn-ea"/>
            <a:cs typeface="Times New Roman" panose="02020603050405020304" pitchFamily="18" charset="0"/>
          </a:endParaRPr>
        </a:p>
        <a:p>
          <a:pPr marL="114300" lvl="1" indent="-114300" algn="l" defTabSz="622300">
            <a:lnSpc>
              <a:spcPct val="90000"/>
            </a:lnSpc>
            <a:spcBef>
              <a:spcPct val="0"/>
            </a:spcBef>
            <a:spcAft>
              <a:spcPct val="15000"/>
            </a:spcAft>
            <a:buChar char="•"/>
          </a:pPr>
          <a:r>
            <a:rPr lang="en-US" sz="1400" kern="1200">
              <a:latin typeface="Calibri" panose="020F0502020204030204" pitchFamily="34" charset="0"/>
              <a:ea typeface="+mn-ea"/>
              <a:cs typeface="Times New Roman" panose="02020603050405020304" pitchFamily="18" charset="0"/>
            </a:rPr>
            <a:t>You can then download to your laptop/local machine. </a:t>
          </a:r>
          <a:endParaRPr lang="en-US" sz="1400" kern="1200" dirty="0">
            <a:latin typeface="Calibri" panose="020F0502020204030204" pitchFamily="34" charset="0"/>
            <a:ea typeface="+mn-ea"/>
            <a:cs typeface="Times New Roman" panose="02020603050405020304" pitchFamily="18" charset="0"/>
          </a:endParaRPr>
        </a:p>
      </dsp:txBody>
      <dsp:txXfrm>
        <a:off x="0" y="3358701"/>
        <a:ext cx="10774130" cy="1512000"/>
      </dsp:txXfrm>
    </dsp:sp>
    <dsp:sp modelId="{EF50F1AA-D465-4946-AB55-DADE566E365A}">
      <dsp:nvSpPr>
        <dsp:cNvPr id="0" name=""/>
        <dsp:cNvSpPr/>
      </dsp:nvSpPr>
      <dsp:spPr>
        <a:xfrm>
          <a:off x="538706" y="3004461"/>
          <a:ext cx="7541891" cy="708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066" tIns="0" rIns="285066" bIns="0" numCol="1" spcCol="1270" anchor="ctr" anchorCtr="0">
          <a:noAutofit/>
        </a:bodyPr>
        <a:lstStyle/>
        <a:p>
          <a:pPr marL="0" lvl="0" indent="0" algn="l" defTabSz="800100">
            <a:lnSpc>
              <a:spcPct val="90000"/>
            </a:lnSpc>
            <a:spcBef>
              <a:spcPct val="0"/>
            </a:spcBef>
            <a:spcAft>
              <a:spcPct val="35000"/>
            </a:spcAft>
            <a:buNone/>
          </a:pPr>
          <a:r>
            <a:rPr lang="en-US" sz="1800" kern="1200">
              <a:latin typeface="Calibri" panose="020F0502020204030204" pitchFamily="34" charset="0"/>
              <a:ea typeface="+mn-ea"/>
              <a:cs typeface="Times New Roman" panose="02020603050405020304" pitchFamily="18" charset="0"/>
            </a:rPr>
            <a:t>Define the Extended Event</a:t>
          </a:r>
          <a:endParaRPr lang="en-US" sz="1800" kern="1200" dirty="0">
            <a:latin typeface="Calibri" panose="020F0502020204030204" pitchFamily="34" charset="0"/>
            <a:ea typeface="+mn-ea"/>
            <a:cs typeface="Times New Roman" panose="02020603050405020304" pitchFamily="18" charset="0"/>
          </a:endParaRPr>
        </a:p>
      </dsp:txBody>
      <dsp:txXfrm>
        <a:off x="573291" y="3039046"/>
        <a:ext cx="7472721" cy="639310"/>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15889"/>
          <a:ext cx="10880725" cy="7464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solidFill>
                <a:srgbClr val="FFFFFF"/>
              </a:solidFill>
            </a:rPr>
            <a:t>List three targets for extended events output.</a:t>
          </a:r>
          <a:endParaRPr lang="en-US" sz="2900" kern="1200" dirty="0"/>
        </a:p>
      </dsp:txBody>
      <dsp:txXfrm>
        <a:off x="36439" y="152328"/>
        <a:ext cx="10807847" cy="673582"/>
      </dsp:txXfrm>
    </dsp:sp>
    <dsp:sp modelId="{E922B38C-D007-46D8-9A79-C8E951BC8385}">
      <dsp:nvSpPr>
        <dsp:cNvPr id="0" name=""/>
        <dsp:cNvSpPr/>
      </dsp:nvSpPr>
      <dsp:spPr>
        <a:xfrm>
          <a:off x="0" y="945869"/>
          <a:ext cx="10880725" cy="7464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solidFill>
                <a:srgbClr val="FFFFFF"/>
              </a:solidFill>
            </a:rPr>
            <a:t>List three problematic scenarios where extended events can help.</a:t>
          </a:r>
          <a:endParaRPr lang="en-US" sz="2900" kern="1200" dirty="0"/>
        </a:p>
      </dsp:txBody>
      <dsp:txXfrm>
        <a:off x="36439" y="982308"/>
        <a:ext cx="10807847" cy="673582"/>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99C0D4-CFB2-49AF-8198-DA377BA908CB}">
      <dsp:nvSpPr>
        <dsp:cNvPr id="0" name=""/>
        <dsp:cNvSpPr/>
      </dsp:nvSpPr>
      <dsp:spPr>
        <a:xfrm>
          <a:off x="0" y="37962"/>
          <a:ext cx="10880726" cy="11255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dirty="0"/>
            <a:t>Database alerts can help to proactively trigger various events related to database connectivity, high DTU usage or deadlocks, etc.</a:t>
          </a:r>
          <a:endParaRPr lang="en-US" sz="2600" kern="1200" dirty="0"/>
        </a:p>
      </dsp:txBody>
      <dsp:txXfrm>
        <a:off x="54944" y="92906"/>
        <a:ext cx="10770838" cy="1015652"/>
      </dsp:txXfrm>
    </dsp:sp>
    <dsp:sp modelId="{D82BF9D7-AA09-4E2F-B05D-CF8608A80215}">
      <dsp:nvSpPr>
        <dsp:cNvPr id="0" name=""/>
        <dsp:cNvSpPr/>
      </dsp:nvSpPr>
      <dsp:spPr>
        <a:xfrm>
          <a:off x="0" y="1238383"/>
          <a:ext cx="10880726" cy="11255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baseline="0" dirty="0"/>
            <a:t>It helps to proactively resolve underlying issues to avoid application outages and improve user experience.</a:t>
          </a:r>
          <a:endParaRPr lang="en-US" sz="2600" kern="1200" dirty="0"/>
        </a:p>
      </dsp:txBody>
      <dsp:txXfrm>
        <a:off x="54944" y="1293327"/>
        <a:ext cx="10770838" cy="1015652"/>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B5DB7F-2233-4B76-AAD6-1DCDF873FDA1}">
      <dsp:nvSpPr>
        <dsp:cNvPr id="0" name=""/>
        <dsp:cNvSpPr/>
      </dsp:nvSpPr>
      <dsp:spPr>
        <a:xfrm>
          <a:off x="0" y="394499"/>
          <a:ext cx="10880726" cy="23341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41528" rIns="844465" bIns="184912" numCol="1" spcCol="1270" anchor="t" anchorCtr="0">
          <a:noAutofit/>
        </a:bodyPr>
        <a:lstStyle/>
        <a:p>
          <a:pPr marL="228600" lvl="1" indent="-228600" algn="l" defTabSz="1155700">
            <a:lnSpc>
              <a:spcPct val="90000"/>
            </a:lnSpc>
            <a:spcBef>
              <a:spcPct val="0"/>
            </a:spcBef>
            <a:spcAft>
              <a:spcPct val="15000"/>
            </a:spcAft>
            <a:buChar char="•"/>
          </a:pPr>
          <a:r>
            <a:rPr lang="en-US" sz="2600" kern="1200" baseline="0"/>
            <a:t>The alert triggers when the value of a specified metric crosses a threshold you assigned in either direction. It triggers when the condition is first met and then when that condition is no longer being met.	</a:t>
          </a:r>
          <a:endParaRPr lang="en-US" sz="2600" kern="1200"/>
        </a:p>
      </dsp:txBody>
      <dsp:txXfrm>
        <a:off x="0" y="394499"/>
        <a:ext cx="10880726" cy="2334150"/>
      </dsp:txXfrm>
    </dsp:sp>
    <dsp:sp modelId="{6C0A1B25-8BB3-40B2-BD0B-7EB7630259F5}">
      <dsp:nvSpPr>
        <dsp:cNvPr id="0" name=""/>
        <dsp:cNvSpPr/>
      </dsp:nvSpPr>
      <dsp:spPr>
        <a:xfrm>
          <a:off x="544036" y="10739"/>
          <a:ext cx="7616508"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kern="1200" baseline="0" dirty="0"/>
            <a:t>Metric values </a:t>
          </a:r>
          <a:endParaRPr lang="en-US" sz="2600" kern="1200" dirty="0"/>
        </a:p>
      </dsp:txBody>
      <dsp:txXfrm>
        <a:off x="581503" y="48206"/>
        <a:ext cx="7541574" cy="692586"/>
      </dsp:txXfrm>
    </dsp:sp>
    <dsp:sp modelId="{DD107CC7-8842-45A5-B858-94D5F4FFB419}">
      <dsp:nvSpPr>
        <dsp:cNvPr id="0" name=""/>
        <dsp:cNvSpPr/>
      </dsp:nvSpPr>
      <dsp:spPr>
        <a:xfrm>
          <a:off x="0" y="3252810"/>
          <a:ext cx="10880726" cy="15561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541528" rIns="844465" bIns="184912" numCol="1" spcCol="1270" anchor="t" anchorCtr="0">
          <a:noAutofit/>
        </a:bodyPr>
        <a:lstStyle/>
        <a:p>
          <a:pPr marL="228600" lvl="1" indent="-228600" algn="l" defTabSz="1155700">
            <a:lnSpc>
              <a:spcPct val="90000"/>
            </a:lnSpc>
            <a:spcBef>
              <a:spcPct val="0"/>
            </a:spcBef>
            <a:spcAft>
              <a:spcPct val="15000"/>
            </a:spcAft>
            <a:buChar char="•"/>
          </a:pPr>
          <a:r>
            <a:rPr lang="en-US" sz="2600" kern="1200" baseline="0"/>
            <a:t>An alert can trigger on every event, or, only when a certain number of events occur.</a:t>
          </a:r>
          <a:endParaRPr lang="en-US" sz="2600" kern="1200"/>
        </a:p>
      </dsp:txBody>
      <dsp:txXfrm>
        <a:off x="0" y="3252810"/>
        <a:ext cx="10880726" cy="1556100"/>
      </dsp:txXfrm>
    </dsp:sp>
    <dsp:sp modelId="{B451D7C2-FC8F-4FA2-8FA3-9032F66054DA}">
      <dsp:nvSpPr>
        <dsp:cNvPr id="0" name=""/>
        <dsp:cNvSpPr/>
      </dsp:nvSpPr>
      <dsp:spPr>
        <a:xfrm>
          <a:off x="544036" y="2869050"/>
          <a:ext cx="7616508"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155700">
            <a:lnSpc>
              <a:spcPct val="90000"/>
            </a:lnSpc>
            <a:spcBef>
              <a:spcPct val="0"/>
            </a:spcBef>
            <a:spcAft>
              <a:spcPct val="35000"/>
            </a:spcAft>
            <a:buNone/>
          </a:pPr>
          <a:r>
            <a:rPr lang="en-US" sz="2600" kern="1200" baseline="0"/>
            <a:t>Activity log events </a:t>
          </a:r>
          <a:endParaRPr lang="en-US" sz="2600" kern="1200"/>
        </a:p>
      </dsp:txBody>
      <dsp:txXfrm>
        <a:off x="581503" y="2906517"/>
        <a:ext cx="7541574" cy="692586"/>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97C360-583C-4042-92A2-C12940117C98}">
      <dsp:nvSpPr>
        <dsp:cNvPr id="0" name=""/>
        <dsp:cNvSpPr/>
      </dsp:nvSpPr>
      <dsp:spPr>
        <a:xfrm>
          <a:off x="0" y="682724"/>
          <a:ext cx="10880726" cy="14962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95732" rIns="844465" bIns="135128" numCol="1" spcCol="1270" anchor="t" anchorCtr="0">
          <a:noAutofit/>
        </a:bodyPr>
        <a:lstStyle/>
        <a:p>
          <a:pPr marL="171450" lvl="1" indent="-171450" algn="l" defTabSz="844550">
            <a:lnSpc>
              <a:spcPct val="90000"/>
            </a:lnSpc>
            <a:spcBef>
              <a:spcPct val="0"/>
            </a:spcBef>
            <a:spcAft>
              <a:spcPct val="15000"/>
            </a:spcAft>
            <a:buChar char="•"/>
          </a:pPr>
          <a:r>
            <a:rPr lang="en-US" sz="1900" kern="1200"/>
            <a:t>Send email notifications to the service administrator and co-administrators.</a:t>
          </a:r>
        </a:p>
        <a:p>
          <a:pPr marL="171450" lvl="1" indent="-171450" algn="l" defTabSz="844550">
            <a:lnSpc>
              <a:spcPct val="90000"/>
            </a:lnSpc>
            <a:spcBef>
              <a:spcPct val="0"/>
            </a:spcBef>
            <a:spcAft>
              <a:spcPct val="15000"/>
            </a:spcAft>
            <a:buChar char="•"/>
          </a:pPr>
          <a:r>
            <a:rPr lang="en-US" sz="1900" kern="1200" dirty="0"/>
            <a:t>Send email to additional emails that you specify.</a:t>
          </a:r>
        </a:p>
        <a:p>
          <a:pPr marL="171450" lvl="1" indent="-171450" algn="l" defTabSz="844550">
            <a:lnSpc>
              <a:spcPct val="90000"/>
            </a:lnSpc>
            <a:spcBef>
              <a:spcPct val="0"/>
            </a:spcBef>
            <a:spcAft>
              <a:spcPct val="15000"/>
            </a:spcAft>
            <a:buChar char="•"/>
          </a:pPr>
          <a:r>
            <a:rPr lang="en-US" sz="1900" kern="1200"/>
            <a:t>Call a webhook</a:t>
          </a:r>
        </a:p>
      </dsp:txBody>
      <dsp:txXfrm>
        <a:off x="0" y="682724"/>
        <a:ext cx="10880726" cy="1496250"/>
      </dsp:txXfrm>
    </dsp:sp>
    <dsp:sp modelId="{F6E4D469-0DF8-4712-A146-DF554DDDD6A3}">
      <dsp:nvSpPr>
        <dsp:cNvPr id="0" name=""/>
        <dsp:cNvSpPr/>
      </dsp:nvSpPr>
      <dsp:spPr>
        <a:xfrm>
          <a:off x="544036" y="402284"/>
          <a:ext cx="7616508" cy="5608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44550">
            <a:lnSpc>
              <a:spcPct val="90000"/>
            </a:lnSpc>
            <a:spcBef>
              <a:spcPct val="0"/>
            </a:spcBef>
            <a:spcAft>
              <a:spcPct val="35000"/>
            </a:spcAft>
            <a:buNone/>
          </a:pPr>
          <a:r>
            <a:rPr lang="en-US" sz="1900" kern="1200"/>
            <a:t>You can configure an alert to do the following when it triggers:</a:t>
          </a:r>
        </a:p>
      </dsp:txBody>
      <dsp:txXfrm>
        <a:off x="571416" y="429664"/>
        <a:ext cx="7561748" cy="506120"/>
      </dsp:txXfrm>
    </dsp:sp>
    <dsp:sp modelId="{7017F526-1DA0-4D1F-A05B-3283388207E8}">
      <dsp:nvSpPr>
        <dsp:cNvPr id="0" name=""/>
        <dsp:cNvSpPr/>
      </dsp:nvSpPr>
      <dsp:spPr>
        <a:xfrm>
          <a:off x="0" y="2562014"/>
          <a:ext cx="10880726" cy="18553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95732" rIns="844465" bIns="135128" numCol="1" spcCol="1270" anchor="t" anchorCtr="0">
          <a:noAutofit/>
        </a:bodyPr>
        <a:lstStyle/>
        <a:p>
          <a:pPr marL="171450" lvl="1" indent="-171450" algn="l" defTabSz="844550">
            <a:lnSpc>
              <a:spcPct val="90000"/>
            </a:lnSpc>
            <a:spcBef>
              <a:spcPct val="0"/>
            </a:spcBef>
            <a:spcAft>
              <a:spcPct val="15000"/>
            </a:spcAft>
            <a:buChar char="•"/>
          </a:pPr>
          <a:r>
            <a:rPr lang="en-US" sz="1900" kern="1200"/>
            <a:t>Azure portal</a:t>
          </a:r>
        </a:p>
        <a:p>
          <a:pPr marL="171450" lvl="1" indent="-171450" algn="l" defTabSz="844550">
            <a:lnSpc>
              <a:spcPct val="90000"/>
            </a:lnSpc>
            <a:spcBef>
              <a:spcPct val="0"/>
            </a:spcBef>
            <a:spcAft>
              <a:spcPct val="15000"/>
            </a:spcAft>
            <a:buChar char="•"/>
          </a:pPr>
          <a:r>
            <a:rPr lang="en-US" sz="1900" kern="1200"/>
            <a:t>PowerShell</a:t>
          </a:r>
        </a:p>
        <a:p>
          <a:pPr marL="171450" lvl="1" indent="-171450" algn="l" defTabSz="844550">
            <a:lnSpc>
              <a:spcPct val="90000"/>
            </a:lnSpc>
            <a:spcBef>
              <a:spcPct val="0"/>
            </a:spcBef>
            <a:spcAft>
              <a:spcPct val="15000"/>
            </a:spcAft>
            <a:buChar char="•"/>
          </a:pPr>
          <a:r>
            <a:rPr lang="en-US" sz="1900" kern="1200"/>
            <a:t>command-line interface (CLI).</a:t>
          </a:r>
        </a:p>
        <a:p>
          <a:pPr marL="171450" lvl="1" indent="-171450" algn="l" defTabSz="844550">
            <a:lnSpc>
              <a:spcPct val="90000"/>
            </a:lnSpc>
            <a:spcBef>
              <a:spcPct val="0"/>
            </a:spcBef>
            <a:spcAft>
              <a:spcPct val="15000"/>
            </a:spcAft>
            <a:buChar char="•"/>
          </a:pPr>
          <a:r>
            <a:rPr lang="en-US" sz="1900" kern="1200"/>
            <a:t>Azure Monitor REST API.</a:t>
          </a:r>
        </a:p>
      </dsp:txBody>
      <dsp:txXfrm>
        <a:off x="0" y="2562014"/>
        <a:ext cx="10880726" cy="1855350"/>
      </dsp:txXfrm>
    </dsp:sp>
    <dsp:sp modelId="{9D2AD4F4-6A62-4376-9735-4A2C5811E823}">
      <dsp:nvSpPr>
        <dsp:cNvPr id="0" name=""/>
        <dsp:cNvSpPr/>
      </dsp:nvSpPr>
      <dsp:spPr>
        <a:xfrm>
          <a:off x="544036" y="2281575"/>
          <a:ext cx="7616508" cy="5608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44550">
            <a:lnSpc>
              <a:spcPct val="90000"/>
            </a:lnSpc>
            <a:spcBef>
              <a:spcPct val="0"/>
            </a:spcBef>
            <a:spcAft>
              <a:spcPct val="35000"/>
            </a:spcAft>
            <a:buNone/>
          </a:pPr>
          <a:r>
            <a:rPr lang="en-US" sz="1900" kern="1200"/>
            <a:t>You can configure and get information about alert rules using</a:t>
          </a:r>
        </a:p>
      </dsp:txBody>
      <dsp:txXfrm>
        <a:off x="571416" y="2308955"/>
        <a:ext cx="7561748" cy="506120"/>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3BE276-B91A-4C51-8589-6CAE21C9601A}">
      <dsp:nvSpPr>
        <dsp:cNvPr id="0" name=""/>
        <dsp:cNvSpPr/>
      </dsp:nvSpPr>
      <dsp:spPr>
        <a:xfrm>
          <a:off x="2555970" y="1386514"/>
          <a:ext cx="1614296" cy="161429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03DDC303-4182-4306-A3EF-D7E00DA8EF92}">
      <dsp:nvSpPr>
        <dsp:cNvPr id="0" name=""/>
        <dsp:cNvSpPr/>
      </dsp:nvSpPr>
      <dsp:spPr>
        <a:xfrm>
          <a:off x="2354182" y="181549"/>
          <a:ext cx="2017871" cy="1099229"/>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r>
            <a:rPr lang="en-US" sz="1700" kern="1200"/>
            <a:t>Monitoring and Troubleshooting Azure SQL Database</a:t>
          </a:r>
        </a:p>
      </dsp:txBody>
      <dsp:txXfrm>
        <a:off x="2354182" y="181549"/>
        <a:ext cx="2017871" cy="1099229"/>
      </dsp:txXfrm>
    </dsp:sp>
    <dsp:sp modelId="{CF621D9E-8C34-4A5E-B041-D34C3454FAE7}">
      <dsp:nvSpPr>
        <dsp:cNvPr id="0" name=""/>
        <dsp:cNvSpPr/>
      </dsp:nvSpPr>
      <dsp:spPr>
        <a:xfrm>
          <a:off x="3079943" y="1689064"/>
          <a:ext cx="1614296" cy="161429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4EB2D1A4-58CB-4985-9EA6-58AE058D319E}">
      <dsp:nvSpPr>
        <dsp:cNvPr id="0" name=""/>
        <dsp:cNvSpPr/>
      </dsp:nvSpPr>
      <dsp:spPr>
        <a:xfrm>
          <a:off x="4813967" y="1228434"/>
          <a:ext cx="1912269" cy="1203917"/>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r>
            <a:rPr lang="en-US" sz="1700" kern="1200"/>
            <a:t>Monitoring Query Performance using Query Performance Insight</a:t>
          </a:r>
        </a:p>
      </dsp:txBody>
      <dsp:txXfrm>
        <a:off x="4813967" y="1228434"/>
        <a:ext cx="1912269" cy="1203917"/>
      </dsp:txXfrm>
    </dsp:sp>
    <dsp:sp modelId="{40451575-A7A2-485B-BC10-950666B9FB31}">
      <dsp:nvSpPr>
        <dsp:cNvPr id="0" name=""/>
        <dsp:cNvSpPr/>
      </dsp:nvSpPr>
      <dsp:spPr>
        <a:xfrm>
          <a:off x="3079943" y="2294163"/>
          <a:ext cx="1614296" cy="161429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7118AB32-21CD-4B7B-800D-3784959FFBC8}">
      <dsp:nvSpPr>
        <dsp:cNvPr id="0" name=""/>
        <dsp:cNvSpPr/>
      </dsp:nvSpPr>
      <dsp:spPr>
        <a:xfrm>
          <a:off x="4813967" y="3023842"/>
          <a:ext cx="1912269" cy="1345247"/>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r>
            <a:rPr lang="en-US" sz="1700" kern="1200"/>
            <a:t>Azure SQL Database Tuning using Automatic Tuning</a:t>
          </a:r>
        </a:p>
      </dsp:txBody>
      <dsp:txXfrm>
        <a:off x="4813967" y="3023842"/>
        <a:ext cx="1912269" cy="1345247"/>
      </dsp:txXfrm>
    </dsp:sp>
    <dsp:sp modelId="{522A0192-1397-4831-831F-B8A7576A1987}">
      <dsp:nvSpPr>
        <dsp:cNvPr id="0" name=""/>
        <dsp:cNvSpPr/>
      </dsp:nvSpPr>
      <dsp:spPr>
        <a:xfrm>
          <a:off x="2555970" y="2597237"/>
          <a:ext cx="1614296" cy="161429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2A0E9313-DDC6-45A7-87D4-CC6666187909}">
      <dsp:nvSpPr>
        <dsp:cNvPr id="0" name=""/>
        <dsp:cNvSpPr/>
      </dsp:nvSpPr>
      <dsp:spPr>
        <a:xfrm>
          <a:off x="2354182" y="4316745"/>
          <a:ext cx="2017871" cy="1099229"/>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r>
            <a:rPr lang="en-US" sz="1700" kern="1200"/>
            <a:t>Monitoring Azure SQL Database Performance using Intelligent Insights</a:t>
          </a:r>
        </a:p>
      </dsp:txBody>
      <dsp:txXfrm>
        <a:off x="2354182" y="4316745"/>
        <a:ext cx="2017871" cy="1099229"/>
      </dsp:txXfrm>
    </dsp:sp>
    <dsp:sp modelId="{F3C28590-7777-4210-B16F-9186A45F4EC5}">
      <dsp:nvSpPr>
        <dsp:cNvPr id="0" name=""/>
        <dsp:cNvSpPr/>
      </dsp:nvSpPr>
      <dsp:spPr>
        <a:xfrm>
          <a:off x="2031996" y="2294163"/>
          <a:ext cx="1614296" cy="161429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CB2ACEB2-C31B-4157-BF51-476A4C524A90}">
      <dsp:nvSpPr>
        <dsp:cNvPr id="0" name=""/>
        <dsp:cNvSpPr/>
      </dsp:nvSpPr>
      <dsp:spPr>
        <a:xfrm>
          <a:off x="0" y="3023842"/>
          <a:ext cx="1912269" cy="1345247"/>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r>
            <a:rPr lang="en-US" sz="1700" kern="1200"/>
            <a:t>Monitoring Azure SQL Database Performance using Extended Events</a:t>
          </a:r>
        </a:p>
      </dsp:txBody>
      <dsp:txXfrm>
        <a:off x="0" y="3023842"/>
        <a:ext cx="1912269" cy="1345247"/>
      </dsp:txXfrm>
    </dsp:sp>
    <dsp:sp modelId="{EA93CBF9-D949-4501-91D8-F06125584A53}">
      <dsp:nvSpPr>
        <dsp:cNvPr id="0" name=""/>
        <dsp:cNvSpPr/>
      </dsp:nvSpPr>
      <dsp:spPr>
        <a:xfrm>
          <a:off x="2031996" y="1689064"/>
          <a:ext cx="1614296" cy="161429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E7956753-0D1D-401E-AA87-8ED57DB061A7}">
      <dsp:nvSpPr>
        <dsp:cNvPr id="0" name=""/>
        <dsp:cNvSpPr/>
      </dsp:nvSpPr>
      <dsp:spPr>
        <a:xfrm>
          <a:off x="0" y="1228434"/>
          <a:ext cx="1912269" cy="1345247"/>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r>
            <a:rPr lang="en-US" sz="1700" kern="1200"/>
            <a:t>Configure Alerts through Azure Portal</a:t>
          </a:r>
        </a:p>
      </dsp:txBody>
      <dsp:txXfrm>
        <a:off x="0" y="1228434"/>
        <a:ext cx="1912269" cy="134524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413363-4A44-498B-ADBF-BEBA43F0769C}">
      <dsp:nvSpPr>
        <dsp:cNvPr id="0" name=""/>
        <dsp:cNvSpPr/>
      </dsp:nvSpPr>
      <dsp:spPr>
        <a:xfrm>
          <a:off x="0" y="47719"/>
          <a:ext cx="2875668" cy="4032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b="1" kern="1200"/>
            <a:t>Query Performance Insight</a:t>
          </a:r>
          <a:endParaRPr lang="en-US" sz="1400" kern="1200"/>
        </a:p>
      </dsp:txBody>
      <dsp:txXfrm>
        <a:off x="0" y="47719"/>
        <a:ext cx="2875668" cy="403200"/>
      </dsp:txXfrm>
    </dsp:sp>
    <dsp:sp modelId="{1E31AB1D-0A0E-4EA3-AB60-FFFFEFEDB237}">
      <dsp:nvSpPr>
        <dsp:cNvPr id="0" name=""/>
        <dsp:cNvSpPr/>
      </dsp:nvSpPr>
      <dsp:spPr>
        <a:xfrm>
          <a:off x="0" y="450919"/>
          <a:ext cx="2875668" cy="215207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GB" sz="1400" kern="1200" dirty="0"/>
            <a:t>Shows top performance degrading queries by showing most resource consuming queries, long running queries and custom configuration.</a:t>
          </a:r>
          <a:endParaRPr lang="en-US" sz="1400" kern="1200" dirty="0"/>
        </a:p>
        <a:p>
          <a:pPr marL="114300" lvl="1" indent="-114300" algn="l" defTabSz="622300">
            <a:lnSpc>
              <a:spcPct val="90000"/>
            </a:lnSpc>
            <a:spcBef>
              <a:spcPct val="0"/>
            </a:spcBef>
            <a:spcAft>
              <a:spcPct val="15000"/>
            </a:spcAft>
            <a:buChar char="•"/>
          </a:pPr>
          <a:r>
            <a:rPr lang="en-GB" sz="1400" kern="1200"/>
            <a:t>Can drill through the queries to see Query text, CPU, data IO and Log IO utilization %, Duration and Execution count.</a:t>
          </a:r>
          <a:endParaRPr lang="en-US" sz="1400" kern="1200"/>
        </a:p>
      </dsp:txBody>
      <dsp:txXfrm>
        <a:off x="0" y="450919"/>
        <a:ext cx="2875668" cy="215207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781041-4575-4982-8D38-B265DE3598A8}">
      <dsp:nvSpPr>
        <dsp:cNvPr id="0" name=""/>
        <dsp:cNvSpPr/>
      </dsp:nvSpPr>
      <dsp:spPr>
        <a:xfrm>
          <a:off x="0" y="148094"/>
          <a:ext cx="3013595" cy="954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b="1" kern="1200" dirty="0"/>
            <a:t>Custom options – Insights based upon custom selection: </a:t>
          </a:r>
          <a:endParaRPr lang="en-US" sz="1600" kern="1200" dirty="0"/>
        </a:p>
      </dsp:txBody>
      <dsp:txXfrm>
        <a:off x="46606" y="194700"/>
        <a:ext cx="2920383" cy="861508"/>
      </dsp:txXfrm>
    </dsp:sp>
    <dsp:sp modelId="{94D23C4D-2C84-4493-8EA9-05A7DAD1F3A9}">
      <dsp:nvSpPr>
        <dsp:cNvPr id="0" name=""/>
        <dsp:cNvSpPr/>
      </dsp:nvSpPr>
      <dsp:spPr>
        <a:xfrm>
          <a:off x="0" y="1102814"/>
          <a:ext cx="3013595" cy="1258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682" tIns="20320" rIns="113792" bIns="20320" numCol="1" spcCol="1270" anchor="t" anchorCtr="0">
          <a:noAutofit/>
        </a:bodyPr>
        <a:lstStyle/>
        <a:p>
          <a:pPr marL="114300" lvl="1" indent="-114300" algn="l" defTabSz="533400">
            <a:lnSpc>
              <a:spcPct val="90000"/>
            </a:lnSpc>
            <a:spcBef>
              <a:spcPct val="0"/>
            </a:spcBef>
            <a:spcAft>
              <a:spcPct val="20000"/>
            </a:spcAft>
            <a:buChar char="•"/>
          </a:pPr>
          <a:r>
            <a:rPr lang="en-GB" sz="1200" b="1" kern="1200" dirty="0"/>
            <a:t>Metric Type</a:t>
          </a:r>
          <a:r>
            <a:rPr lang="en-GB" sz="1200" kern="1200" dirty="0"/>
            <a:t> – CPU , Data IO, Log IO, Duration and Execution Count.</a:t>
          </a:r>
          <a:endParaRPr lang="en-US" sz="1200" kern="1200" dirty="0"/>
        </a:p>
        <a:p>
          <a:pPr marL="114300" lvl="1" indent="-114300" algn="l" defTabSz="533400">
            <a:lnSpc>
              <a:spcPct val="90000"/>
            </a:lnSpc>
            <a:spcBef>
              <a:spcPct val="0"/>
            </a:spcBef>
            <a:spcAft>
              <a:spcPct val="20000"/>
            </a:spcAft>
            <a:buChar char="•"/>
          </a:pPr>
          <a:r>
            <a:rPr lang="en-GB" sz="1200" b="1" kern="1200"/>
            <a:t>Time Period</a:t>
          </a:r>
          <a:r>
            <a:rPr lang="en-GB" sz="1200" kern="1200"/>
            <a:t> – Last 6 hrs, Last 24 hrs, Past Week, Past Month and Custom.</a:t>
          </a:r>
          <a:endParaRPr lang="en-US" sz="1200" kern="1200"/>
        </a:p>
        <a:p>
          <a:pPr marL="114300" lvl="1" indent="-114300" algn="l" defTabSz="533400">
            <a:lnSpc>
              <a:spcPct val="90000"/>
            </a:lnSpc>
            <a:spcBef>
              <a:spcPct val="0"/>
            </a:spcBef>
            <a:spcAft>
              <a:spcPct val="20000"/>
            </a:spcAft>
            <a:buChar char="•"/>
          </a:pPr>
          <a:r>
            <a:rPr lang="en-GB" sz="1200" b="1" kern="1200"/>
            <a:t>Number of Queries</a:t>
          </a:r>
          <a:r>
            <a:rPr lang="en-GB" sz="1200" kern="1200"/>
            <a:t> – 5, 10, 20.</a:t>
          </a:r>
          <a:endParaRPr lang="en-US" sz="1200" kern="1200"/>
        </a:p>
        <a:p>
          <a:pPr marL="114300" lvl="1" indent="-114300" algn="l" defTabSz="533400">
            <a:lnSpc>
              <a:spcPct val="90000"/>
            </a:lnSpc>
            <a:spcBef>
              <a:spcPct val="0"/>
            </a:spcBef>
            <a:spcAft>
              <a:spcPct val="20000"/>
            </a:spcAft>
            <a:buChar char="•"/>
          </a:pPr>
          <a:r>
            <a:rPr lang="en-GB" sz="1200" b="1" kern="1200"/>
            <a:t>Aggregation type</a:t>
          </a:r>
          <a:r>
            <a:rPr lang="en-GB" sz="1200" kern="1200"/>
            <a:t> – sum, max and avg.</a:t>
          </a:r>
          <a:endParaRPr lang="en-US" sz="1200" kern="1200"/>
        </a:p>
      </dsp:txBody>
      <dsp:txXfrm>
        <a:off x="0" y="1102814"/>
        <a:ext cx="3013595" cy="125856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7E59CF-D9DE-4529-9FE8-6A9B72F6F2D9}">
      <dsp:nvSpPr>
        <dsp:cNvPr id="0" name=""/>
        <dsp:cNvSpPr/>
      </dsp:nvSpPr>
      <dsp:spPr>
        <a:xfrm>
          <a:off x="0" y="638006"/>
          <a:ext cx="3611562"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Get details for the individual queries</a:t>
          </a:r>
          <a:endParaRPr lang="en-US" sz="2400" kern="1200" dirty="0"/>
        </a:p>
      </dsp:txBody>
      <dsp:txXfrm>
        <a:off x="59399" y="697405"/>
        <a:ext cx="3492764" cy="1098002"/>
      </dsp:txXfrm>
    </dsp:sp>
    <dsp:sp modelId="{74C59528-9B9A-42EF-9E3E-973956D09847}">
      <dsp:nvSpPr>
        <dsp:cNvPr id="0" name=""/>
        <dsp:cNvSpPr/>
      </dsp:nvSpPr>
      <dsp:spPr>
        <a:xfrm>
          <a:off x="0" y="1854806"/>
          <a:ext cx="3611562" cy="1110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66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CPU Consumption</a:t>
          </a:r>
          <a:endParaRPr lang="en-US" sz="2000" kern="1200" dirty="0"/>
        </a:p>
        <a:p>
          <a:pPr marL="228600" lvl="1" indent="-228600" algn="l" defTabSz="889000">
            <a:lnSpc>
              <a:spcPct val="90000"/>
            </a:lnSpc>
            <a:spcBef>
              <a:spcPct val="0"/>
            </a:spcBef>
            <a:spcAft>
              <a:spcPct val="20000"/>
            </a:spcAft>
            <a:buChar char="•"/>
          </a:pPr>
          <a:r>
            <a:rPr lang="en-US" sz="2000" kern="1200" baseline="0"/>
            <a:t>Duration</a:t>
          </a:r>
          <a:endParaRPr lang="en-US" sz="2000" kern="1200"/>
        </a:p>
        <a:p>
          <a:pPr marL="228600" lvl="1" indent="-228600" algn="l" defTabSz="889000">
            <a:lnSpc>
              <a:spcPct val="90000"/>
            </a:lnSpc>
            <a:spcBef>
              <a:spcPct val="0"/>
            </a:spcBef>
            <a:spcAft>
              <a:spcPct val="20000"/>
            </a:spcAft>
            <a:buChar char="•"/>
          </a:pPr>
          <a:r>
            <a:rPr lang="en-US" sz="2000" kern="1200" baseline="0" dirty="0"/>
            <a:t>Execution Count</a:t>
          </a:r>
          <a:endParaRPr lang="en-US" sz="2000" kern="1200" dirty="0"/>
        </a:p>
      </dsp:txBody>
      <dsp:txXfrm>
        <a:off x="0" y="1854806"/>
        <a:ext cx="3611562" cy="1110037"/>
      </dsp:txXfrm>
    </dsp:sp>
    <dsp:sp modelId="{E76F6BF3-F965-4588-8C47-77DD1629D9DB}">
      <dsp:nvSpPr>
        <dsp:cNvPr id="0" name=""/>
        <dsp:cNvSpPr/>
      </dsp:nvSpPr>
      <dsp:spPr>
        <a:xfrm>
          <a:off x="0" y="2964843"/>
          <a:ext cx="3611562"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It does not capture DDL queries</a:t>
          </a:r>
          <a:endParaRPr lang="en-US" sz="2400" kern="1200" dirty="0"/>
        </a:p>
      </dsp:txBody>
      <dsp:txXfrm>
        <a:off x="59399" y="3024242"/>
        <a:ext cx="3492764" cy="109800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F059FA-74DB-468F-A5C9-0AE5F006D671}">
      <dsp:nvSpPr>
        <dsp:cNvPr id="0" name=""/>
        <dsp:cNvSpPr/>
      </dsp:nvSpPr>
      <dsp:spPr>
        <a:xfrm>
          <a:off x="0" y="544406"/>
          <a:ext cx="5668962"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Duration is one of the metrics showing potential bottleneck</a:t>
          </a:r>
          <a:endParaRPr lang="en-US" sz="2400" kern="1200" dirty="0"/>
        </a:p>
      </dsp:txBody>
      <dsp:txXfrm>
        <a:off x="59399" y="603805"/>
        <a:ext cx="5550164" cy="1098002"/>
      </dsp:txXfrm>
    </dsp:sp>
    <dsp:sp modelId="{5CBB367B-9C40-4F92-8C31-83DFA994EF25}">
      <dsp:nvSpPr>
        <dsp:cNvPr id="0" name=""/>
        <dsp:cNvSpPr/>
      </dsp:nvSpPr>
      <dsp:spPr>
        <a:xfrm>
          <a:off x="0" y="1948406"/>
          <a:ext cx="5668962"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Long-running queries has potential for:</a:t>
          </a:r>
          <a:endParaRPr lang="en-US" sz="2400" kern="1200" dirty="0"/>
        </a:p>
      </dsp:txBody>
      <dsp:txXfrm>
        <a:off x="59399" y="2007805"/>
        <a:ext cx="5550164" cy="1098002"/>
      </dsp:txXfrm>
    </dsp:sp>
    <dsp:sp modelId="{9AE7F440-4AD2-4E9D-A0E1-38F266616FB0}">
      <dsp:nvSpPr>
        <dsp:cNvPr id="0" name=""/>
        <dsp:cNvSpPr/>
      </dsp:nvSpPr>
      <dsp:spPr>
        <a:xfrm>
          <a:off x="0" y="3165206"/>
          <a:ext cx="5668962" cy="1110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99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Longer locks</a:t>
          </a:r>
          <a:endParaRPr lang="en-US" sz="2000" kern="1200" dirty="0"/>
        </a:p>
        <a:p>
          <a:pPr marL="228600" lvl="1" indent="-228600" algn="l" defTabSz="889000">
            <a:lnSpc>
              <a:spcPct val="90000"/>
            </a:lnSpc>
            <a:spcBef>
              <a:spcPct val="0"/>
            </a:spcBef>
            <a:spcAft>
              <a:spcPct val="20000"/>
            </a:spcAft>
            <a:buChar char="•"/>
          </a:pPr>
          <a:r>
            <a:rPr lang="en-US" sz="2000" kern="1200" baseline="0" dirty="0"/>
            <a:t>Blocking other users</a:t>
          </a:r>
          <a:endParaRPr lang="en-US" sz="2000" kern="1200" dirty="0"/>
        </a:p>
        <a:p>
          <a:pPr marL="228600" lvl="1" indent="-228600" algn="l" defTabSz="889000">
            <a:lnSpc>
              <a:spcPct val="90000"/>
            </a:lnSpc>
            <a:spcBef>
              <a:spcPct val="0"/>
            </a:spcBef>
            <a:spcAft>
              <a:spcPct val="20000"/>
            </a:spcAft>
            <a:buChar char="•"/>
          </a:pPr>
          <a:r>
            <a:rPr lang="en-US" sz="2000" kern="1200" baseline="0" dirty="0"/>
            <a:t>Limiting scalability</a:t>
          </a:r>
          <a:endParaRPr lang="en-US" sz="2000" kern="1200" dirty="0"/>
        </a:p>
      </dsp:txBody>
      <dsp:txXfrm>
        <a:off x="0" y="3165206"/>
        <a:ext cx="5668962" cy="111003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F059FA-74DB-468F-A5C9-0AE5F006D671}">
      <dsp:nvSpPr>
        <dsp:cNvPr id="0" name=""/>
        <dsp:cNvSpPr/>
      </dsp:nvSpPr>
      <dsp:spPr>
        <a:xfrm>
          <a:off x="0" y="544406"/>
          <a:ext cx="5668962"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Execution count is one of the metrics showing potential bottleneck</a:t>
          </a:r>
          <a:endParaRPr lang="en-US" sz="2400" kern="1200" dirty="0"/>
        </a:p>
      </dsp:txBody>
      <dsp:txXfrm>
        <a:off x="59399" y="603805"/>
        <a:ext cx="5550164" cy="1098002"/>
      </dsp:txXfrm>
    </dsp:sp>
    <dsp:sp modelId="{5CBB367B-9C40-4F92-8C31-83DFA994EF25}">
      <dsp:nvSpPr>
        <dsp:cNvPr id="0" name=""/>
        <dsp:cNvSpPr/>
      </dsp:nvSpPr>
      <dsp:spPr>
        <a:xfrm>
          <a:off x="0" y="1948406"/>
          <a:ext cx="5668962" cy="1216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High number </a:t>
          </a:r>
          <a:r>
            <a:rPr lang="en-US" sz="2400" kern="1200" baseline="0" dirty="0" err="1"/>
            <a:t>og</a:t>
          </a:r>
          <a:r>
            <a:rPr lang="en-US" sz="2400" kern="1200" baseline="0" dirty="0"/>
            <a:t> executions has potential for:</a:t>
          </a:r>
          <a:endParaRPr lang="en-US" sz="2400" kern="1200" dirty="0"/>
        </a:p>
      </dsp:txBody>
      <dsp:txXfrm>
        <a:off x="59399" y="2007805"/>
        <a:ext cx="5550164" cy="1098002"/>
      </dsp:txXfrm>
    </dsp:sp>
    <dsp:sp modelId="{9AE7F440-4AD2-4E9D-A0E1-38F266616FB0}">
      <dsp:nvSpPr>
        <dsp:cNvPr id="0" name=""/>
        <dsp:cNvSpPr/>
      </dsp:nvSpPr>
      <dsp:spPr>
        <a:xfrm>
          <a:off x="0" y="3165206"/>
          <a:ext cx="5668962" cy="1110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99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Database performance</a:t>
          </a:r>
          <a:endParaRPr lang="en-US" sz="2000" kern="1200" dirty="0"/>
        </a:p>
        <a:p>
          <a:pPr marL="228600" lvl="1" indent="-228600" algn="l" defTabSz="889000">
            <a:lnSpc>
              <a:spcPct val="90000"/>
            </a:lnSpc>
            <a:spcBef>
              <a:spcPct val="0"/>
            </a:spcBef>
            <a:spcAft>
              <a:spcPct val="20000"/>
            </a:spcAft>
            <a:buChar char="•"/>
          </a:pPr>
          <a:r>
            <a:rPr lang="en-US" sz="2000" kern="1200" dirty="0"/>
            <a:t>Network latency</a:t>
          </a:r>
        </a:p>
        <a:p>
          <a:pPr marL="228600" lvl="1" indent="-228600" algn="l" defTabSz="889000">
            <a:lnSpc>
              <a:spcPct val="90000"/>
            </a:lnSpc>
            <a:spcBef>
              <a:spcPct val="0"/>
            </a:spcBef>
            <a:spcAft>
              <a:spcPct val="20000"/>
            </a:spcAft>
            <a:buChar char="•"/>
          </a:pPr>
          <a:r>
            <a:rPr lang="en-US" sz="2000" kern="1200" dirty="0"/>
            <a:t>Downstream server latency</a:t>
          </a:r>
        </a:p>
      </dsp:txBody>
      <dsp:txXfrm>
        <a:off x="0" y="3165206"/>
        <a:ext cx="5668962" cy="111003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E250F2-0EE5-4E31-8B03-3788671D7093}">
      <dsp:nvSpPr>
        <dsp:cNvPr id="0" name=""/>
        <dsp:cNvSpPr/>
      </dsp:nvSpPr>
      <dsp:spPr>
        <a:xfrm>
          <a:off x="578" y="149399"/>
          <a:ext cx="3662594" cy="135037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920" tIns="142240" rIns="248920" bIns="142240" numCol="1" spcCol="1270" anchor="ctr" anchorCtr="0">
          <a:noAutofit/>
        </a:bodyPr>
        <a:lstStyle/>
        <a:p>
          <a:pPr marL="0" lvl="0" indent="0" algn="ctr" defTabSz="1555750">
            <a:lnSpc>
              <a:spcPct val="90000"/>
            </a:lnSpc>
            <a:spcBef>
              <a:spcPct val="0"/>
            </a:spcBef>
            <a:spcAft>
              <a:spcPct val="35000"/>
            </a:spcAft>
            <a:buNone/>
          </a:pPr>
          <a:r>
            <a:rPr lang="en-US" sz="3500" kern="1200" baseline="0" dirty="0"/>
            <a:t>Retention Policy</a:t>
          </a:r>
          <a:endParaRPr lang="en-US" sz="3500" kern="1200" dirty="0"/>
        </a:p>
      </dsp:txBody>
      <dsp:txXfrm>
        <a:off x="578" y="149399"/>
        <a:ext cx="3662594" cy="1350375"/>
      </dsp:txXfrm>
    </dsp:sp>
    <dsp:sp modelId="{9ADD3EE3-4A3D-4149-A16D-ADFF510313FA}">
      <dsp:nvSpPr>
        <dsp:cNvPr id="0" name=""/>
        <dsp:cNvSpPr/>
      </dsp:nvSpPr>
      <dsp:spPr>
        <a:xfrm>
          <a:off x="578" y="1499775"/>
          <a:ext cx="3662594" cy="317047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t>Size based – Auto cleanup when near max size.</a:t>
          </a:r>
          <a:endParaRPr lang="en-US" sz="2000" kern="1200" dirty="0"/>
        </a:p>
        <a:p>
          <a:pPr marL="228600" lvl="1" indent="-228600" algn="l" defTabSz="889000">
            <a:lnSpc>
              <a:spcPct val="90000"/>
            </a:lnSpc>
            <a:spcBef>
              <a:spcPct val="0"/>
            </a:spcBef>
            <a:spcAft>
              <a:spcPct val="15000"/>
            </a:spcAft>
            <a:buChar char="•"/>
          </a:pPr>
          <a:r>
            <a:rPr lang="en-US" sz="2000" kern="1200" baseline="0" dirty="0"/>
            <a:t>Time based – Default 30 days.</a:t>
          </a:r>
          <a:endParaRPr lang="en-US" sz="2000" kern="1200" dirty="0"/>
        </a:p>
        <a:p>
          <a:pPr marL="228600" lvl="1" indent="-228600" algn="l" defTabSz="889000">
            <a:lnSpc>
              <a:spcPct val="90000"/>
            </a:lnSpc>
            <a:spcBef>
              <a:spcPct val="0"/>
            </a:spcBef>
            <a:spcAft>
              <a:spcPct val="15000"/>
            </a:spcAft>
            <a:buChar char="•"/>
          </a:pPr>
          <a:r>
            <a:rPr lang="en-US" sz="2000" kern="1200" baseline="0" dirty="0"/>
            <a:t>Max Plans Per Query – Default 200.</a:t>
          </a:r>
          <a:endParaRPr lang="en-US" sz="2000" kern="1200" dirty="0"/>
        </a:p>
        <a:p>
          <a:pPr marL="228600" lvl="1" indent="-228600" algn="l" defTabSz="889000">
            <a:lnSpc>
              <a:spcPct val="90000"/>
            </a:lnSpc>
            <a:spcBef>
              <a:spcPct val="0"/>
            </a:spcBef>
            <a:spcAft>
              <a:spcPct val="15000"/>
            </a:spcAft>
            <a:buChar char="•"/>
          </a:pPr>
          <a:r>
            <a:rPr lang="en-US" sz="2000" kern="1200" baseline="0" dirty="0"/>
            <a:t>Wait Statistics Capture Mode – Default On.</a:t>
          </a:r>
          <a:endParaRPr lang="en-US" sz="2000" kern="1200" dirty="0"/>
        </a:p>
      </dsp:txBody>
      <dsp:txXfrm>
        <a:off x="578" y="1499775"/>
        <a:ext cx="3662594" cy="3170474"/>
      </dsp:txXfrm>
    </dsp:sp>
    <dsp:sp modelId="{C28A80A7-C690-4F8A-A59B-842D2D7CD65A}">
      <dsp:nvSpPr>
        <dsp:cNvPr id="0" name=""/>
        <dsp:cNvSpPr/>
      </dsp:nvSpPr>
      <dsp:spPr>
        <a:xfrm>
          <a:off x="4139670" y="149399"/>
          <a:ext cx="3403550" cy="135037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920" tIns="142240" rIns="248920" bIns="142240" numCol="1" spcCol="1270" anchor="ctr" anchorCtr="0">
          <a:noAutofit/>
        </a:bodyPr>
        <a:lstStyle/>
        <a:p>
          <a:pPr marL="0" lvl="0" indent="0" algn="ctr" defTabSz="1555750">
            <a:lnSpc>
              <a:spcPct val="90000"/>
            </a:lnSpc>
            <a:spcBef>
              <a:spcPct val="0"/>
            </a:spcBef>
            <a:spcAft>
              <a:spcPct val="35000"/>
            </a:spcAft>
            <a:buNone/>
          </a:pPr>
          <a:r>
            <a:rPr lang="en-US" sz="3500" kern="1200" baseline="0"/>
            <a:t>Capture Policy</a:t>
          </a:r>
          <a:endParaRPr lang="en-US" sz="3500" kern="1200"/>
        </a:p>
      </dsp:txBody>
      <dsp:txXfrm>
        <a:off x="4139670" y="149399"/>
        <a:ext cx="3403550" cy="1350375"/>
      </dsp:txXfrm>
    </dsp:sp>
    <dsp:sp modelId="{03F4D7B7-D2D1-4E13-AAB5-A6561E370CCC}">
      <dsp:nvSpPr>
        <dsp:cNvPr id="0" name=""/>
        <dsp:cNvSpPr/>
      </dsp:nvSpPr>
      <dsp:spPr>
        <a:xfrm>
          <a:off x="4139670" y="1499775"/>
          <a:ext cx="3403550" cy="317047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t>All – Captures all queries.</a:t>
          </a:r>
          <a:endParaRPr lang="en-US" sz="2000" kern="1200" dirty="0"/>
        </a:p>
        <a:p>
          <a:pPr marL="228600" lvl="1" indent="-228600" algn="l" defTabSz="889000">
            <a:lnSpc>
              <a:spcPct val="90000"/>
            </a:lnSpc>
            <a:spcBef>
              <a:spcPct val="0"/>
            </a:spcBef>
            <a:spcAft>
              <a:spcPct val="15000"/>
            </a:spcAft>
            <a:buChar char="•"/>
          </a:pPr>
          <a:r>
            <a:rPr lang="en-US" sz="2000" kern="1200" baseline="0" dirty="0"/>
            <a:t>Auto – Infrequent queries are ignored.</a:t>
          </a:r>
          <a:endParaRPr lang="en-US" sz="2000" kern="1200" dirty="0"/>
        </a:p>
        <a:p>
          <a:pPr marL="228600" lvl="1" indent="-228600" algn="l" defTabSz="889000">
            <a:lnSpc>
              <a:spcPct val="90000"/>
            </a:lnSpc>
            <a:spcBef>
              <a:spcPct val="0"/>
            </a:spcBef>
            <a:spcAft>
              <a:spcPct val="15000"/>
            </a:spcAft>
            <a:buChar char="•"/>
          </a:pPr>
          <a:r>
            <a:rPr lang="en-US" sz="2000" kern="1200" baseline="0" dirty="0"/>
            <a:t>None – No queries are captured.</a:t>
          </a:r>
          <a:endParaRPr lang="en-US" sz="2000" kern="1200" dirty="0"/>
        </a:p>
        <a:p>
          <a:pPr marL="228600" lvl="1" indent="-228600" algn="l" defTabSz="889000">
            <a:lnSpc>
              <a:spcPct val="90000"/>
            </a:lnSpc>
            <a:spcBef>
              <a:spcPct val="0"/>
            </a:spcBef>
            <a:spcAft>
              <a:spcPct val="15000"/>
            </a:spcAft>
            <a:buChar char="•"/>
          </a:pPr>
          <a:r>
            <a:rPr lang="en-US" sz="2000" kern="1200" baseline="0" dirty="0"/>
            <a:t>Custom – Advanced Options</a:t>
          </a:r>
          <a:endParaRPr lang="en-US" sz="2000" kern="1200" dirty="0"/>
        </a:p>
      </dsp:txBody>
      <dsp:txXfrm>
        <a:off x="4139670" y="1499775"/>
        <a:ext cx="3403550" cy="317047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6493"/>
          <a:ext cx="10880725" cy="108225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kumimoji="0" lang="en-US" sz="2500" b="0" i="0" u="none" strike="noStrike" kern="1200" cap="none" spc="0" normalizeH="0" baseline="0" noProof="0" dirty="0">
              <a:ln>
                <a:noFill/>
              </a:ln>
              <a:solidFill>
                <a:srgbClr val="FFFFFF"/>
              </a:solidFill>
              <a:effectLst/>
              <a:uLnTx/>
              <a:uFillTx/>
              <a:latin typeface="Segoe UI"/>
              <a:cs typeface="Segoe UI"/>
            </a:rPr>
            <a:t>What feature should be enabled on your Azure SQL Database before you can use Query Performance Insight?</a:t>
          </a:r>
          <a:endParaRPr lang="en-US" sz="2500" kern="1200" dirty="0"/>
        </a:p>
      </dsp:txBody>
      <dsp:txXfrm>
        <a:off x="52831" y="59324"/>
        <a:ext cx="10775063" cy="976588"/>
      </dsp:txXfrm>
    </dsp:sp>
    <dsp:sp modelId="{E922B38C-D007-46D8-9A79-C8E951BC8385}">
      <dsp:nvSpPr>
        <dsp:cNvPr id="0" name=""/>
        <dsp:cNvSpPr/>
      </dsp:nvSpPr>
      <dsp:spPr>
        <a:xfrm>
          <a:off x="0" y="1160743"/>
          <a:ext cx="10880725" cy="108225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solidFill>
                <a:srgbClr val="FFFFFF"/>
              </a:solidFill>
              <a:cs typeface="Segoe UI"/>
            </a:rPr>
            <a:t>How can you view individual query details?</a:t>
          </a:r>
          <a:endParaRPr lang="en-US" sz="2500" kern="1200" dirty="0"/>
        </a:p>
      </dsp:txBody>
      <dsp:txXfrm>
        <a:off x="52831" y="1213574"/>
        <a:ext cx="10775063" cy="976588"/>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9.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5.08.2021</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dirty="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8/25/2021</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azure/sql-database/sql-database-intelligent-insights-troubleshoot-performance"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ocs.microsoft.com/en-us/azure/sql-database/sql-database-intelligent-insights-troubleshoot-performance"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ocs.microsoft.com/en-us/azure/sql-database/sql-database-metrics-diag-logging"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docs.microsoft.com/en-us/azure/sql-database/sql-database-xevent-db-diff-from-svr" TargetMode="External"/><Relationship Id="rId2" Type="http://schemas.openxmlformats.org/officeDocument/2006/relationships/slide" Target="../slides/slide44.xml"/><Relationship Id="rId1" Type="http://schemas.openxmlformats.org/officeDocument/2006/relationships/notesMaster" Target="../notesMasters/notesMaster1.xml"/><Relationship Id="rId6" Type="http://schemas.openxmlformats.org/officeDocument/2006/relationships/hyperlink" Target="http://msdn.microsoft.com/library/ff878115.aspx" TargetMode="External"/><Relationship Id="rId5" Type="http://schemas.openxmlformats.org/officeDocument/2006/relationships/hyperlink" Target="http://msdn.microsoft.com/library/ff878025.aspx" TargetMode="External"/><Relationship Id="rId4" Type="http://schemas.openxmlformats.org/officeDocument/2006/relationships/hyperlink" Target="http://msdn.microsoft.com/library/ff878182.aspx"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azure/sql-database/sql-database-advisor"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portal.azure.com/"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six lessons in this module.</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20117938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ck any query in the list of top queries.</a:t>
            </a:r>
          </a:p>
          <a:p>
            <a:pPr rtl="0"/>
            <a:r>
              <a:rPr lang="en-US" dirty="0"/>
              <a:t>The details view opens and the queries CPU consumption/Duration/Execution count is broken down over time.</a:t>
            </a:r>
          </a:p>
          <a:p>
            <a:pPr rtl="0"/>
            <a:r>
              <a:rPr lang="en-US" dirty="0"/>
              <a:t>Click around the chart for details.</a:t>
            </a:r>
          </a:p>
          <a:p>
            <a:pPr lvl="1" rtl="0"/>
            <a:r>
              <a:rPr lang="en-US" dirty="0"/>
              <a:t>Top chart shows line with overall database DTU%, and the bars are CPU% consumed by the selected query.</a:t>
            </a:r>
          </a:p>
          <a:p>
            <a:pPr lvl="1" rtl="0"/>
            <a:r>
              <a:rPr lang="en-US" dirty="0"/>
              <a:t>Second chart shows total duration by the selected query.</a:t>
            </a:r>
          </a:p>
          <a:p>
            <a:pPr lvl="1" rtl="0"/>
            <a:r>
              <a:rPr lang="en-US" dirty="0"/>
              <a:t>Bottom chart shows total number of executions by the selected query.</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2</a:t>
            </a:fld>
            <a:endParaRPr lang="en-US" noProof="0"/>
          </a:p>
        </p:txBody>
      </p:sp>
    </p:spTree>
    <p:extLst>
      <p:ext uri="{BB962C8B-B14F-4D97-AF65-F5344CB8AC3E}">
        <p14:creationId xmlns:p14="http://schemas.microsoft.com/office/powerpoint/2010/main" val="765386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dirty="0"/>
              <a:t>In the recent update of Query Performance Insight, we introduced two new metrics that can help you identify potential bottlenecks: duration and execution count.</a:t>
            </a:r>
            <a:br>
              <a:rPr lang="en-US" dirty="0"/>
            </a:br>
            <a:endParaRPr lang="en-US" dirty="0"/>
          </a:p>
          <a:p>
            <a:pPr rtl="0"/>
            <a:r>
              <a:rPr lang="en-US" dirty="0"/>
              <a:t>Long-running queries have the greatest potential for locking resources longer, blocking other users, and limiting scalability. They are also the best candidates for optimization.</a:t>
            </a:r>
          </a:p>
          <a:p>
            <a:pPr rtl="0"/>
            <a:r>
              <a:rPr lang="en-US" dirty="0"/>
              <a:t>Open </a:t>
            </a:r>
            <a:r>
              <a:rPr lang="en-US" b="1" dirty="0"/>
              <a:t>Custom</a:t>
            </a:r>
            <a:r>
              <a:rPr lang="en-US" dirty="0"/>
              <a:t> tab in Query Performance Insight for selected database</a:t>
            </a:r>
          </a:p>
          <a:p>
            <a:pPr rtl="0"/>
            <a:r>
              <a:rPr lang="en-US" dirty="0"/>
              <a:t>Change metrics to be </a:t>
            </a:r>
            <a:r>
              <a:rPr lang="en-US" b="1" dirty="0"/>
              <a:t>duration</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a:p>
        </p:txBody>
      </p:sp>
    </p:spTree>
    <p:extLst>
      <p:ext uri="{BB962C8B-B14F-4D97-AF65-F5344CB8AC3E}">
        <p14:creationId xmlns:p14="http://schemas.microsoft.com/office/powerpoint/2010/main" val="17832941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dirty="0"/>
              <a:t>High number of executions might not be affecting database itself and resources usage can be low, but overall application might get slow.+ </a:t>
            </a:r>
          </a:p>
          <a:p>
            <a:pPr rtl="0"/>
            <a:r>
              <a:rPr lang="en-US" dirty="0"/>
              <a:t>In some cases, very high execution count may lead to increase of network round trips. Round trips significantly affect performance. They are subject to network latency and to downstream server latency.  </a:t>
            </a:r>
          </a:p>
          <a:p>
            <a:pPr rtl="0"/>
            <a:r>
              <a:rPr lang="en-US" dirty="0"/>
              <a:t>For example, many data-driven Web sites heavily access the database for every user request. While connection pooling helps, the increased network traffic and processing load on the database server can adversely affect performance. General advice is to keep round trips to an absolute minimum.+ </a:t>
            </a:r>
          </a:p>
          <a:p>
            <a:pPr rtl="0"/>
            <a:r>
              <a:rPr lang="en-US" dirty="0"/>
              <a:t>To identify frequently executed queries (“chatty”) queries:+ </a:t>
            </a:r>
          </a:p>
          <a:p>
            <a:pPr rtl="0"/>
            <a:r>
              <a:rPr lang="en-US" dirty="0"/>
              <a:t>Open </a:t>
            </a:r>
            <a:r>
              <a:rPr lang="en-US" b="1" dirty="0"/>
              <a:t>Custom</a:t>
            </a:r>
            <a:r>
              <a:rPr lang="en-US" dirty="0"/>
              <a:t> tab in Query Performance Insight for selected database</a:t>
            </a:r>
          </a:p>
          <a:p>
            <a:pPr rtl="0"/>
            <a:r>
              <a:rPr lang="en-US" dirty="0"/>
              <a:t>Change metrics to be </a:t>
            </a:r>
            <a:r>
              <a:rPr lang="en-US" b="1" dirty="0"/>
              <a:t>execution count</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a:p>
        </p:txBody>
      </p:sp>
    </p:spTree>
    <p:extLst>
      <p:ext uri="{BB962C8B-B14F-4D97-AF65-F5344CB8AC3E}">
        <p14:creationId xmlns:p14="http://schemas.microsoft.com/office/powerpoint/2010/main" val="2878255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1" dirty="0"/>
              <a:t>Recommended retention and capture policy</a:t>
            </a:r>
          </a:p>
          <a:p>
            <a:pPr rtl="0"/>
            <a:r>
              <a:rPr lang="en-US" dirty="0"/>
              <a:t>There are two types of retention policies:+ </a:t>
            </a:r>
          </a:p>
          <a:p>
            <a:pPr rtl="0"/>
            <a:r>
              <a:rPr lang="en-US" dirty="0"/>
              <a:t>Size based - if set to AUTO it will clean data automatically when near max size is reached.</a:t>
            </a:r>
          </a:p>
          <a:p>
            <a:pPr rtl="0"/>
            <a:r>
              <a:rPr lang="en-US" dirty="0"/>
              <a:t>Time based - by default we will set it to 30 days, which means, if Query Store will run out of space, it will delete query information older than 30 days</a:t>
            </a:r>
          </a:p>
          <a:p>
            <a:pPr rtl="0"/>
            <a:endParaRPr lang="en-US" dirty="0"/>
          </a:p>
          <a:p>
            <a:pPr rtl="0"/>
            <a:r>
              <a:rPr lang="en-US" dirty="0"/>
              <a:t>Capture policy could be set to:</a:t>
            </a:r>
          </a:p>
          <a:p>
            <a:pPr rtl="0"/>
            <a:r>
              <a:rPr lang="en-US" b="1" dirty="0"/>
              <a:t>All</a:t>
            </a:r>
            <a:r>
              <a:rPr lang="en-US" dirty="0"/>
              <a:t> - Captures all queries.</a:t>
            </a:r>
          </a:p>
          <a:p>
            <a:pPr rtl="0"/>
            <a:r>
              <a:rPr lang="en-US" b="1" dirty="0"/>
              <a:t>Auto</a:t>
            </a:r>
            <a:r>
              <a:rPr lang="en-US" dirty="0"/>
              <a:t> - Infrequent queries and queries with insignificant compile and execution duration are ignored. Thresholds for execution count, compile and runtime duration are internally determined. This is the default option.</a:t>
            </a:r>
          </a:p>
          <a:p>
            <a:pPr rtl="0"/>
            <a:r>
              <a:rPr lang="en-US" b="1" dirty="0"/>
              <a:t>None</a:t>
            </a:r>
            <a:r>
              <a:rPr lang="en-US" dirty="0"/>
              <a:t> - Query Store stops capturing new queries, however runtime stats for already captured queries are still collected.</a:t>
            </a:r>
          </a:p>
          <a:p>
            <a:pPr rtl="0"/>
            <a:endParaRPr lang="en-US" dirty="0"/>
          </a:p>
          <a:p>
            <a:pPr rtl="0"/>
            <a:r>
              <a:rPr lang="en-US" dirty="0"/>
              <a:t>We recommend setting all policies to AUTO and clean policy to 30 days</a:t>
            </a:r>
          </a:p>
          <a:p>
            <a:pPr rtl="0"/>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a:p>
        </p:txBody>
      </p:sp>
    </p:spTree>
    <p:extLst>
      <p:ext uri="{BB962C8B-B14F-4D97-AF65-F5344CB8AC3E}">
        <p14:creationId xmlns:p14="http://schemas.microsoft.com/office/powerpoint/2010/main" val="29692035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indent="0">
              <a:buFont typeface="Arial" panose="020B0604020202020204" pitchFamily="34" charset="0"/>
              <a:buNone/>
            </a:pPr>
            <a:r>
              <a:rPr lang="en-US" sz="1800" dirty="0">
                <a:solidFill>
                  <a:srgbClr val="000000"/>
                </a:solidFill>
                <a:latin typeface="Consolas" panose="020B0609020204030204" pitchFamily="49" charset="0"/>
              </a:rPr>
              <a:t>M05L02Demo01</a:t>
            </a: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Demo Requirements</a:t>
            </a:r>
            <a:endParaRPr lang="en-US" b="0" dirty="0"/>
          </a:p>
          <a:p>
            <a:pPr marL="171450" indent="-171450">
              <a:buFontTx/>
              <a:buChar char="-"/>
            </a:pPr>
            <a:r>
              <a:rPr lang="en-US" b="0" dirty="0" err="1"/>
              <a:t>Salesdb</a:t>
            </a:r>
            <a:r>
              <a:rPr lang="en-US" b="0" dirty="0"/>
              <a:t> that was created in module 1</a:t>
            </a:r>
          </a:p>
          <a:p>
            <a:pPr marL="171450" indent="-171450">
              <a:buFontTx/>
              <a:buChar char="-"/>
            </a:pPr>
            <a:r>
              <a:rPr lang="en-US" b="0" dirty="0"/>
              <a:t>Use the script </a:t>
            </a:r>
            <a:r>
              <a:rPr lang="en-US" b="1" dirty="0"/>
              <a:t>C:\Demos\M05L02Demo01\Workload.sql</a:t>
            </a:r>
            <a:r>
              <a:rPr lang="en-US" b="0" dirty="0"/>
              <a:t>. </a:t>
            </a:r>
          </a:p>
          <a:p>
            <a:pPr marL="171450" indent="-171450">
              <a:buFontTx/>
              <a:buChar char="-"/>
            </a:pPr>
            <a:r>
              <a:rPr lang="en-US" b="0" dirty="0"/>
              <a:t>Make sure that you have already created and populated the table because this takes a few minutes to complete</a:t>
            </a:r>
          </a:p>
          <a:p>
            <a:pPr marL="171450" indent="-171450">
              <a:buFontTx/>
              <a:buChar char="-"/>
            </a:pPr>
            <a:r>
              <a:rPr lang="en-US" b="0" dirty="0"/>
              <a:t>SSMS</a:t>
            </a:r>
          </a:p>
          <a:p>
            <a:pPr marL="171450" indent="-171450">
              <a:buFontTx/>
              <a:buChar char="-"/>
            </a:pPr>
            <a:endParaRPr lang="en-US" b="0" dirty="0"/>
          </a:p>
          <a:p>
            <a:pPr marL="0" indent="0">
              <a:buFontTx/>
              <a:buNone/>
            </a:pPr>
            <a:r>
              <a:rPr lang="en-US" b="1" dirty="0"/>
              <a:t>Steps:</a:t>
            </a:r>
            <a:endParaRPr lang="en-US" b="0" dirty="0"/>
          </a:p>
          <a:p>
            <a:pPr marL="228600" indent="-228600">
              <a:buFontTx/>
              <a:buAutoNum type="arabicPeriod"/>
            </a:pPr>
            <a:r>
              <a:rPr lang="en-US" b="0" dirty="0"/>
              <a:t>Open your SSMS, connect to your logical server</a:t>
            </a:r>
          </a:p>
          <a:p>
            <a:pPr marL="228600" indent="-228600">
              <a:buFontTx/>
              <a:buAutoNum type="arabicPeriod"/>
            </a:pPr>
            <a:r>
              <a:rPr lang="en-US" b="0" dirty="0"/>
              <a:t>Right click on the </a:t>
            </a:r>
            <a:r>
              <a:rPr lang="en-US" b="0" dirty="0" err="1"/>
              <a:t>salesdb</a:t>
            </a:r>
            <a:r>
              <a:rPr lang="en-US" b="0" dirty="0"/>
              <a:t> and select Properties </a:t>
            </a:r>
            <a:r>
              <a:rPr lang="en-US" b="0" dirty="0">
                <a:sym typeface="Wingdings" panose="05000000000000000000" pitchFamily="2" charset="2"/>
              </a:rPr>
              <a:t> Query Store</a:t>
            </a:r>
          </a:p>
          <a:p>
            <a:pPr marL="228600" indent="-228600">
              <a:buFontTx/>
              <a:buAutoNum type="arabicPeriod"/>
            </a:pPr>
            <a:r>
              <a:rPr lang="en-US" b="0" dirty="0">
                <a:sym typeface="Wingdings" panose="05000000000000000000" pitchFamily="2" charset="2"/>
              </a:rPr>
              <a:t>Change the following settings:</a:t>
            </a:r>
          </a:p>
          <a:p>
            <a:pPr marL="445862" lvl="1" indent="-228600">
              <a:buFontTx/>
              <a:buAutoNum type="arabicPeriod"/>
            </a:pPr>
            <a:r>
              <a:rPr lang="en-US" b="0" dirty="0">
                <a:sym typeface="Wingdings" panose="05000000000000000000" pitchFamily="2" charset="2"/>
              </a:rPr>
              <a:t>Data Flush Interval  1min</a:t>
            </a:r>
          </a:p>
          <a:p>
            <a:pPr marL="445862" lvl="1" indent="-228600">
              <a:buFontTx/>
              <a:buAutoNum type="arabicPeriod"/>
            </a:pPr>
            <a:r>
              <a:rPr lang="en-US" b="0" dirty="0">
                <a:sym typeface="Wingdings" panose="05000000000000000000" pitchFamily="2" charset="2"/>
              </a:rPr>
              <a:t>Statistics Collection Interval  1 Minute</a:t>
            </a:r>
          </a:p>
          <a:p>
            <a:pPr marL="228600" lvl="0" indent="-228600">
              <a:buFontTx/>
              <a:buAutoNum type="arabicPeriod"/>
            </a:pPr>
            <a:r>
              <a:rPr lang="en-US" b="0" dirty="0">
                <a:sym typeface="Wingdings" panose="05000000000000000000" pitchFamily="2" charset="2"/>
              </a:rPr>
              <a:t>Click on “Purge Query Data” to empty the Query Store</a:t>
            </a:r>
          </a:p>
          <a:p>
            <a:pPr marL="228600" lvl="0" indent="-228600">
              <a:buFontTx/>
              <a:buAutoNum type="arabicPeriod"/>
            </a:pPr>
            <a:r>
              <a:rPr lang="en-US" b="0" dirty="0">
                <a:sym typeface="Wingdings" panose="05000000000000000000" pitchFamily="2" charset="2"/>
              </a:rPr>
              <a:t>Open the </a:t>
            </a:r>
            <a:r>
              <a:rPr lang="en-US" b="0" dirty="0" err="1">
                <a:sym typeface="Wingdings" panose="05000000000000000000" pitchFamily="2" charset="2"/>
              </a:rPr>
              <a:t>Workload.sql</a:t>
            </a:r>
            <a:r>
              <a:rPr lang="en-US" b="0" dirty="0">
                <a:sym typeface="Wingdings" panose="05000000000000000000" pitchFamily="2" charset="2"/>
              </a:rPr>
              <a:t> file and execute the stored procedure</a:t>
            </a:r>
          </a:p>
          <a:p>
            <a:r>
              <a:rPr lang="en-US" b="0" dirty="0">
                <a:sym typeface="Wingdings" panose="05000000000000000000" pitchFamily="2" charset="2"/>
              </a:rPr>
              <a:t>	</a:t>
            </a:r>
            <a:r>
              <a:rPr lang="en-US" sz="900" kern="1200" dirty="0">
                <a:solidFill>
                  <a:schemeClr val="tx1"/>
                </a:solidFill>
                <a:latin typeface="Segoe UI Light" pitchFamily="34" charset="0"/>
                <a:ea typeface="+mn-ea"/>
                <a:cs typeface="+mn-cs"/>
              </a:rPr>
              <a:t>EXEC </a:t>
            </a:r>
            <a:r>
              <a:rPr lang="en-US" sz="900" kern="1200" dirty="0" err="1">
                <a:solidFill>
                  <a:schemeClr val="tx1"/>
                </a:solidFill>
                <a:latin typeface="Segoe UI Light" pitchFamily="34" charset="0"/>
                <a:ea typeface="+mn-ea"/>
                <a:cs typeface="+mn-cs"/>
              </a:rPr>
              <a:t>dbo.proc_Emp_search</a:t>
            </a:r>
            <a:r>
              <a:rPr lang="en-US" sz="900" kern="1200" dirty="0">
                <a:solidFill>
                  <a:schemeClr val="tx1"/>
                </a:solidFill>
                <a:latin typeface="Segoe UI Light" pitchFamily="34" charset="0"/>
                <a:ea typeface="+mn-ea"/>
                <a:cs typeface="+mn-cs"/>
              </a:rPr>
              <a:t> 123</a:t>
            </a:r>
          </a:p>
          <a:p>
            <a:pPr marL="510093" lvl="4" indent="0">
              <a:buNone/>
            </a:pPr>
            <a:r>
              <a:rPr lang="nl-BE" sz="900" kern="1200" dirty="0">
                <a:solidFill>
                  <a:schemeClr val="tx1"/>
                </a:solidFill>
                <a:latin typeface="Segoe UI Light" pitchFamily="34" charset="0"/>
                <a:ea typeface="+mn-ea"/>
                <a:cs typeface="+mn-cs"/>
              </a:rPr>
              <a:t>GO 20</a:t>
            </a:r>
          </a:p>
          <a:p>
            <a:pPr marL="510093" lvl="4" indent="0">
              <a:buNone/>
            </a:pPr>
            <a:r>
              <a:rPr lang="en-US" sz="900" kern="1200" dirty="0">
                <a:solidFill>
                  <a:schemeClr val="tx1"/>
                </a:solidFill>
                <a:latin typeface="Segoe UI Light" pitchFamily="34" charset="0"/>
                <a:ea typeface="+mn-ea"/>
                <a:cs typeface="+mn-cs"/>
              </a:rPr>
              <a:t>EXEC </a:t>
            </a:r>
            <a:r>
              <a:rPr lang="en-US" sz="900" kern="1200" dirty="0" err="1">
                <a:solidFill>
                  <a:schemeClr val="tx1"/>
                </a:solidFill>
                <a:latin typeface="Segoe UI Light" pitchFamily="34" charset="0"/>
                <a:ea typeface="+mn-ea"/>
                <a:cs typeface="+mn-cs"/>
              </a:rPr>
              <a:t>dbo.proc_Emp_search</a:t>
            </a:r>
            <a:r>
              <a:rPr lang="en-US" sz="900" kern="1200" dirty="0">
                <a:solidFill>
                  <a:schemeClr val="tx1"/>
                </a:solidFill>
                <a:latin typeface="Segoe UI Light" pitchFamily="34" charset="0"/>
                <a:ea typeface="+mn-ea"/>
                <a:cs typeface="+mn-cs"/>
              </a:rPr>
              <a:t> 121023</a:t>
            </a:r>
          </a:p>
          <a:p>
            <a:pPr marL="510093" lvl="4" indent="0">
              <a:buNone/>
            </a:pPr>
            <a:r>
              <a:rPr lang="nl-BE" sz="900" kern="1200" dirty="0">
                <a:solidFill>
                  <a:schemeClr val="tx1"/>
                </a:solidFill>
                <a:latin typeface="Segoe UI Light" pitchFamily="34" charset="0"/>
                <a:ea typeface="+mn-ea"/>
                <a:cs typeface="+mn-cs"/>
              </a:rPr>
              <a:t>GO 20</a:t>
            </a:r>
            <a:endParaRPr lang="en-US" sz="900" b="1" kern="1200" dirty="0">
              <a:solidFill>
                <a:schemeClr val="tx1"/>
              </a:solidFill>
              <a:latin typeface="Segoe UI Light" pitchFamily="34" charset="0"/>
              <a:ea typeface="+mn-ea"/>
              <a:cs typeface="+mn-cs"/>
            </a:endParaRPr>
          </a:p>
          <a:p>
            <a:pPr marL="0" lvl="0" indent="-117403">
              <a:buNone/>
            </a:pPr>
            <a:r>
              <a:rPr lang="en-US" sz="900" b="0" kern="1200" dirty="0">
                <a:solidFill>
                  <a:schemeClr val="tx1"/>
                </a:solidFill>
                <a:latin typeface="Segoe UI Light" pitchFamily="34" charset="0"/>
                <a:ea typeface="+mn-ea"/>
                <a:cs typeface="+mn-cs"/>
              </a:rPr>
              <a:t>6. Create the non-clustered index and execute the stored procedure </a:t>
            </a:r>
            <a:r>
              <a:rPr lang="en-US" sz="900" kern="1200" dirty="0">
                <a:solidFill>
                  <a:schemeClr val="tx1"/>
                </a:solidFill>
                <a:latin typeface="Segoe UI Light" pitchFamily="34" charset="0"/>
                <a:ea typeface="+mn-ea"/>
                <a:cs typeface="+mn-cs"/>
              </a:rPr>
              <a:t>EXEC </a:t>
            </a:r>
            <a:r>
              <a:rPr lang="en-US" sz="900" kern="1200" dirty="0" err="1">
                <a:solidFill>
                  <a:schemeClr val="tx1"/>
                </a:solidFill>
                <a:latin typeface="Segoe UI Light" pitchFamily="34" charset="0"/>
                <a:ea typeface="+mn-ea"/>
                <a:cs typeface="+mn-cs"/>
              </a:rPr>
              <a:t>dbo.proc_Emp_search</a:t>
            </a:r>
            <a:r>
              <a:rPr lang="en-US" sz="900" kern="1200" dirty="0">
                <a:solidFill>
                  <a:schemeClr val="tx1"/>
                </a:solidFill>
                <a:latin typeface="Segoe UI Light" pitchFamily="34" charset="0"/>
                <a:ea typeface="+mn-ea"/>
                <a:cs typeface="+mn-cs"/>
              </a:rPr>
              <a:t> 123 again</a:t>
            </a:r>
          </a:p>
          <a:p>
            <a:pPr marL="0" lvl="0" indent="-117403">
              <a:buNone/>
            </a:pPr>
            <a:r>
              <a:rPr lang="en-US" sz="900" b="0" kern="1200" dirty="0">
                <a:solidFill>
                  <a:schemeClr val="tx1"/>
                </a:solidFill>
                <a:latin typeface="Segoe UI Light" pitchFamily="34" charset="0"/>
                <a:ea typeface="+mn-ea"/>
                <a:cs typeface="+mn-cs"/>
              </a:rPr>
              <a:t>7. Wait for 1 minute so that the query store can collect the execution times and the Query plans. You should see 2 query plans for the same query</a:t>
            </a:r>
          </a:p>
          <a:p>
            <a:pPr marL="0" lvl="0" indent="-117403">
              <a:buNone/>
            </a:pPr>
            <a:endParaRPr lang="en-US" sz="900" b="0" kern="1200" dirty="0">
              <a:solidFill>
                <a:schemeClr val="tx1"/>
              </a:solidFill>
              <a:latin typeface="Segoe UI Light" pitchFamily="34" charset="0"/>
              <a:ea typeface="+mn-ea"/>
              <a:cs typeface="+mn-cs"/>
            </a:endParaRPr>
          </a:p>
          <a:p>
            <a:pPr marL="0" lvl="0" indent="-117403">
              <a:buNone/>
            </a:pPr>
            <a:r>
              <a:rPr lang="en-US" sz="900" b="0" kern="1200" dirty="0">
                <a:solidFill>
                  <a:schemeClr val="tx1"/>
                </a:solidFill>
                <a:latin typeface="Segoe UI Light" pitchFamily="34" charset="0"/>
                <a:ea typeface="+mn-ea"/>
                <a:cs typeface="+mn-cs"/>
              </a:rPr>
              <a:t>8. Open the Azure Portal, go to the </a:t>
            </a:r>
            <a:r>
              <a:rPr lang="en-US" sz="900" b="0" kern="1200" dirty="0" err="1">
                <a:solidFill>
                  <a:schemeClr val="tx1"/>
                </a:solidFill>
                <a:latin typeface="Segoe UI Light" pitchFamily="34" charset="0"/>
                <a:ea typeface="+mn-ea"/>
                <a:cs typeface="+mn-cs"/>
              </a:rPr>
              <a:t>salesdb</a:t>
            </a:r>
            <a:r>
              <a:rPr lang="en-US" sz="900" b="0" kern="1200" dirty="0">
                <a:solidFill>
                  <a:schemeClr val="tx1"/>
                </a:solidFill>
                <a:latin typeface="Segoe UI Light" pitchFamily="34" charset="0"/>
                <a:ea typeface="+mn-ea"/>
                <a:cs typeface="+mn-cs"/>
              </a:rPr>
              <a:t> and click on Query Performance Insight</a:t>
            </a:r>
          </a:p>
          <a:p>
            <a:pPr marL="0" lvl="0" indent="-117403">
              <a:buNone/>
            </a:pPr>
            <a:r>
              <a:rPr lang="en-US" sz="900" b="0" kern="1200" dirty="0">
                <a:solidFill>
                  <a:schemeClr val="tx1"/>
                </a:solidFill>
                <a:latin typeface="Segoe UI Light" pitchFamily="34" charset="0"/>
                <a:ea typeface="+mn-ea"/>
                <a:cs typeface="+mn-cs"/>
              </a:rPr>
              <a:t>9. The query of the stored procedure should be available.</a:t>
            </a:r>
          </a:p>
          <a:p>
            <a:pPr marL="0" lvl="0" indent="-117403">
              <a:buNone/>
            </a:pPr>
            <a:r>
              <a:rPr lang="en-US" sz="900" b="0" kern="1200" dirty="0">
                <a:solidFill>
                  <a:schemeClr val="tx1"/>
                </a:solidFill>
                <a:latin typeface="Segoe UI Light" pitchFamily="34" charset="0"/>
                <a:ea typeface="+mn-ea"/>
                <a:cs typeface="+mn-cs"/>
              </a:rPr>
              <a:t>10. Show the dashboard of the resource consuming query and click on the query to drill down in more execution statistics of the query</a:t>
            </a:r>
          </a:p>
          <a:p>
            <a:pPr marL="0" lvl="0" indent="-117403">
              <a:buNone/>
            </a:pPr>
            <a:endParaRPr lang="en-US" sz="900" b="0" kern="1200" dirty="0">
              <a:solidFill>
                <a:schemeClr val="tx1"/>
              </a:solidFill>
              <a:latin typeface="Segoe UI Light" pitchFamily="34" charset="0"/>
              <a:ea typeface="+mn-ea"/>
              <a:cs typeface="+mn-cs"/>
            </a:endParaRPr>
          </a:p>
          <a:p>
            <a:pPr marL="0" lvl="0" indent="-117403">
              <a:buNone/>
            </a:pPr>
            <a:r>
              <a:rPr lang="en-US" sz="900" b="0" kern="1200" dirty="0">
                <a:solidFill>
                  <a:schemeClr val="tx1"/>
                </a:solidFill>
                <a:latin typeface="Segoe UI Light" pitchFamily="34" charset="0"/>
                <a:ea typeface="+mn-ea"/>
                <a:cs typeface="+mn-cs"/>
              </a:rPr>
              <a:t>11. Go back to the Object Explorer of SSMS </a:t>
            </a:r>
            <a:r>
              <a:rPr lang="en-US" sz="900" b="0" kern="1200" dirty="0">
                <a:solidFill>
                  <a:schemeClr val="tx1"/>
                </a:solidFill>
                <a:latin typeface="Segoe UI Light" pitchFamily="34" charset="0"/>
                <a:ea typeface="+mn-ea"/>
                <a:cs typeface="+mn-cs"/>
                <a:sym typeface="Wingdings" panose="05000000000000000000" pitchFamily="2" charset="2"/>
              </a:rPr>
              <a:t> Query store  Top Resource Consuming Queries</a:t>
            </a:r>
          </a:p>
          <a:p>
            <a:pPr marL="0" lvl="0" indent="-117403">
              <a:buNone/>
            </a:pPr>
            <a:r>
              <a:rPr lang="en-US" sz="900" b="0" kern="1200" dirty="0">
                <a:solidFill>
                  <a:schemeClr val="tx1"/>
                </a:solidFill>
                <a:latin typeface="Segoe UI Light" pitchFamily="34" charset="0"/>
                <a:ea typeface="+mn-ea"/>
                <a:cs typeface="+mn-cs"/>
                <a:sym typeface="Wingdings" panose="05000000000000000000" pitchFamily="2" charset="2"/>
              </a:rPr>
              <a:t>12. Show the different option of the query store and also show that there are 2 different query plans for the same query.</a:t>
            </a:r>
          </a:p>
          <a:p>
            <a:pPr marL="0" lvl="0" indent="-117403">
              <a:buNone/>
            </a:pPr>
            <a:endParaRPr lang="nl-BE" sz="900" b="0" kern="1200" dirty="0">
              <a:solidFill>
                <a:schemeClr val="tx1"/>
              </a:solidFill>
              <a:latin typeface="Segoe UI Light" pitchFamily="34" charset="0"/>
              <a:ea typeface="+mn-ea"/>
              <a:cs typeface="+mn-cs"/>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800" dirty="0">
                <a:solidFill>
                  <a:srgbClr val="000000"/>
                </a:solidFill>
                <a:latin typeface="Consolas" panose="020B0609020204030204" pitchFamily="49" charset="0"/>
              </a:rPr>
              <a:t>M05L02Lab01</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7695947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cs typeface="Segoe UI Light"/>
              </a:rPr>
              <a:t>Question 1: </a:t>
            </a:r>
            <a:r>
              <a:rPr kumimoji="0" lang="en-US" sz="900" b="0" i="0" u="none" strike="noStrike" kern="1200" cap="none" spc="0" normalizeH="0" baseline="0" noProof="0" dirty="0">
                <a:ln>
                  <a:noFill/>
                </a:ln>
                <a:solidFill>
                  <a:srgbClr val="FFFFFF"/>
                </a:solidFill>
                <a:effectLst/>
                <a:uLnTx/>
                <a:uFillTx/>
                <a:latin typeface="+mn-lt"/>
                <a:cs typeface="Segoe UI"/>
              </a:rPr>
              <a:t>What feature should be enabled on your Azure SQL Database before you can use Query Performance Insight?</a:t>
            </a:r>
            <a:endParaRPr lang="en-US" dirty="0">
              <a:cs typeface="Segoe UI Light"/>
            </a:endParaRPr>
          </a:p>
          <a:p>
            <a:r>
              <a:rPr lang="en-US" dirty="0">
                <a:cs typeface="Segoe UI Light"/>
              </a:rPr>
              <a:t>Answer 1: </a:t>
            </a:r>
            <a:r>
              <a:rPr lang="en-US" b="1" dirty="0">
                <a:cs typeface="Segoe UI Light"/>
              </a:rPr>
              <a:t>The Query Store should be enabled on the database</a:t>
            </a:r>
            <a:r>
              <a:rPr lang="en-US" dirty="0">
                <a:cs typeface="Segoe UI Light"/>
              </a:rPr>
              <a:t>.</a:t>
            </a:r>
            <a:r>
              <a:rPr lang="en-US" baseline="0" dirty="0">
                <a:cs typeface="Segoe UI Light"/>
              </a:rPr>
              <a:t> This is enabled by default when you create a new database</a:t>
            </a:r>
          </a:p>
          <a:p>
            <a:endParaRPr lang="en-US" baseline="0" dirty="0">
              <a:cs typeface="Segoe UI Ligh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cs typeface="Segoe UI Light"/>
              </a:rPr>
              <a:t>Question 2: </a:t>
            </a:r>
            <a:r>
              <a:rPr lang="en-US" sz="900" dirty="0">
                <a:solidFill>
                  <a:srgbClr val="FFFFFF"/>
                </a:solidFill>
                <a:cs typeface="Segoe UI"/>
              </a:rPr>
              <a:t>How can you view individual query details?</a:t>
            </a:r>
            <a:endParaRPr lang="en-US" dirty="0">
              <a:cs typeface="Segoe UI Light"/>
            </a:endParaRPr>
          </a:p>
          <a:p>
            <a:r>
              <a:rPr lang="en-US" dirty="0">
                <a:cs typeface="Segoe UI Light"/>
              </a:rPr>
              <a:t>Answer 2: Click on</a:t>
            </a:r>
            <a:r>
              <a:rPr lang="en-US" baseline="0" dirty="0">
                <a:cs typeface="Segoe UI Light"/>
              </a:rPr>
              <a:t> </a:t>
            </a:r>
            <a:r>
              <a:rPr lang="en-US" b="1" baseline="0" dirty="0">
                <a:cs typeface="Segoe UI Light"/>
              </a:rPr>
              <a:t>the Query ID</a:t>
            </a:r>
            <a:r>
              <a:rPr lang="en-US" baseline="0" dirty="0">
                <a:cs typeface="Segoe UI Light"/>
              </a:rPr>
              <a:t> in the performance insight to verify the query details</a:t>
            </a:r>
          </a:p>
          <a:p>
            <a:endParaRPr lang="en-US" baseline="0" dirty="0">
              <a:cs typeface="Segoe UI Light"/>
            </a:endParaRPr>
          </a:p>
          <a:p>
            <a:endParaRPr lang="en-US" dirty="0">
              <a:cs typeface="Segoe UI Light"/>
            </a:endParaRPr>
          </a:p>
          <a:p>
            <a:endParaRPr lang="en-US" dirty="0">
              <a:cs typeface="Segoe UI Light"/>
            </a:endParaRPr>
          </a:p>
          <a:p>
            <a:endParaRPr lang="en-US" dirty="0">
              <a:cs typeface="Segoe UI Light"/>
            </a:endParaRP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a:p>
        </p:txBody>
      </p:sp>
    </p:spTree>
    <p:extLst>
      <p:ext uri="{BB962C8B-B14F-4D97-AF65-F5344CB8AC3E}">
        <p14:creationId xmlns:p14="http://schemas.microsoft.com/office/powerpoint/2010/main" val="12088219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is lesson covers the </a:t>
            </a:r>
            <a:r>
              <a:rPr lang="en-US" sz="800" kern="1200" dirty="0">
                <a:solidFill>
                  <a:schemeClr val="bg1"/>
                </a:solidFill>
                <a:latin typeface="Segoe UI Light" pitchFamily="34" charset="0"/>
                <a:ea typeface="+mn-ea"/>
                <a:cs typeface="Segoe UI"/>
              </a:rPr>
              <a:t>Azure SQL Database Tuning using Automatic Tuning</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0</a:t>
            </a:fld>
            <a:endParaRPr lang="en-US" noProof="0"/>
          </a:p>
        </p:txBody>
      </p:sp>
    </p:spTree>
    <p:extLst>
      <p:ext uri="{BB962C8B-B14F-4D97-AF65-F5344CB8AC3E}">
        <p14:creationId xmlns:p14="http://schemas.microsoft.com/office/powerpoint/2010/main" val="15576175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This lesson covers the </a:t>
            </a:r>
            <a:r>
              <a:rPr lang="en-US" sz="800" kern="1200" dirty="0">
                <a:solidFill>
                  <a:schemeClr val="bg1"/>
                </a:solidFill>
                <a:latin typeface="Segoe UI Light" pitchFamily="34" charset="0"/>
                <a:ea typeface="+mn-ea"/>
                <a:cs typeface="Segoe UI"/>
              </a:rPr>
              <a:t>Azure SQL Database Tuning using Automatic Tuning</a:t>
            </a:r>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This lesson covers </a:t>
            </a:r>
            <a:r>
              <a:rPr lang="en-US" sz="800" kern="1200" dirty="0">
                <a:solidFill>
                  <a:schemeClr val="bg1"/>
                </a:solidFill>
                <a:latin typeface="Segoe UI Light" pitchFamily="34" charset="0"/>
                <a:ea typeface="+mn-ea"/>
                <a:cs typeface="Segoe UI"/>
              </a:rPr>
              <a:t>Monitoring and Troubleshooting Azure SQL Database</a:t>
            </a:r>
            <a:r>
              <a:rPr lang="en-US" dirty="0"/>
              <a:t>.</a:t>
            </a:r>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a:t>
            </a:fld>
            <a:endParaRPr lang="en-US" noProof="0"/>
          </a:p>
        </p:txBody>
      </p:sp>
    </p:spTree>
    <p:extLst>
      <p:ext uri="{BB962C8B-B14F-4D97-AF65-F5344CB8AC3E}">
        <p14:creationId xmlns:p14="http://schemas.microsoft.com/office/powerpoint/2010/main" val="1262184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Azure SQL Database Automatic tuning provides peak performance and stable workloads through continuous performance tuning utilizing Artificial Intelligence.</a:t>
            </a:r>
          </a:p>
          <a:p>
            <a:r>
              <a:rPr lang="en-US" sz="800" b="0" i="0" u="none" strike="noStrike" kern="1200" dirty="0">
                <a:solidFill>
                  <a:schemeClr val="tx1"/>
                </a:solidFill>
                <a:effectLst/>
                <a:latin typeface="Segoe UI Light" pitchFamily="34" charset="0"/>
                <a:ea typeface="+mn-ea"/>
                <a:cs typeface="+mn-cs"/>
              </a:rPr>
              <a:t>Automatic tuning is a fully managed service that uses built-in intelligence to continuously monitor queries executed on a database and it automatically improves their performance. This is achieved through dynamically adapting database to the changing workloads and applying tuning recommendations. Automatic tuning learns horizontally from all databases on Azure through Artificial Intelligence and it dynamically improves its tuning actions. The longer an Azure SQL Database runs with automatic tuning on, the better it performs.</a:t>
            </a:r>
          </a:p>
          <a:p>
            <a:r>
              <a:rPr lang="en-US" sz="800" b="0" i="0" u="none" strike="noStrike" kern="1200" dirty="0">
                <a:solidFill>
                  <a:schemeClr val="tx1"/>
                </a:solidFill>
                <a:effectLst/>
                <a:latin typeface="Segoe UI Light" pitchFamily="34" charset="0"/>
                <a:ea typeface="+mn-ea"/>
                <a:cs typeface="+mn-cs"/>
              </a:rPr>
              <a:t>Azure SQL Database Automatic tuning might be one of the most important features that you can enable to provide stable and peak performing workloads.</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Tuning operations applied to Azure SQL Databases are fully safe for the performance of your most intense workloads. The system has been designed with care not to interfere with the user workloads. Automated tuning recommendations are applied only at the times of a low utilization. The system can also temporarily disable automatic tuning operations to protect the workload performance. In such case, “Disabled by the system” message will be shown in Azure portal. Automatic tuning regards workloads with the highest resource priority.</a:t>
            </a:r>
          </a:p>
          <a:p>
            <a:r>
              <a:rPr lang="en-US" sz="800" b="0" i="0" u="none" strike="noStrike" kern="1200" dirty="0">
                <a:solidFill>
                  <a:schemeClr val="tx1"/>
                </a:solidFill>
                <a:effectLst/>
                <a:latin typeface="Segoe UI Light" pitchFamily="34" charset="0"/>
                <a:ea typeface="+mn-ea"/>
                <a:cs typeface="+mn-cs"/>
              </a:rPr>
              <a:t>Automatic tuning mechanisms are mature and have been perfected on hundreds of thousands of databases running on Azure. Automated tuning operations applied are verified automatically to ensure there is a positive improvement to the workload performance. Regressed performance recommendations are dynamically detected and promptly reverted. Through the tuning history log there is a clear trace of tuning improvements made to each Azure SQL Database. </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Automatic tuning options available in Azure SQL Database are:</a:t>
            </a:r>
          </a:p>
          <a:p>
            <a:r>
              <a:rPr lang="en-US" sz="800" b="1" i="0" u="none" strike="noStrike" kern="1200" dirty="0">
                <a:solidFill>
                  <a:schemeClr val="tx1"/>
                </a:solidFill>
                <a:effectLst/>
                <a:latin typeface="Segoe UI Light" pitchFamily="34" charset="0"/>
                <a:ea typeface="+mn-ea"/>
                <a:cs typeface="+mn-cs"/>
              </a:rPr>
              <a:t>CREATE INDEX</a:t>
            </a:r>
            <a:r>
              <a:rPr lang="en-US" sz="800" b="0" i="0" u="none" strike="noStrike" kern="1200" dirty="0">
                <a:solidFill>
                  <a:schemeClr val="tx1"/>
                </a:solidFill>
                <a:effectLst/>
                <a:latin typeface="Segoe UI Light" pitchFamily="34" charset="0"/>
                <a:ea typeface="+mn-ea"/>
                <a:cs typeface="+mn-cs"/>
              </a:rPr>
              <a:t> - identifies indexes that may improve performance of your workload, creates indexes, and automatically verifies that performance of queries has improved.</a:t>
            </a:r>
          </a:p>
          <a:p>
            <a:r>
              <a:rPr lang="en-US" sz="800" b="1" i="0" u="none" strike="noStrike" kern="1200" dirty="0">
                <a:solidFill>
                  <a:schemeClr val="tx1"/>
                </a:solidFill>
                <a:effectLst/>
                <a:latin typeface="Segoe UI Light" pitchFamily="34" charset="0"/>
                <a:ea typeface="+mn-ea"/>
                <a:cs typeface="+mn-cs"/>
              </a:rPr>
              <a:t>DROP INDEX</a:t>
            </a:r>
            <a:r>
              <a:rPr lang="en-US" sz="800" b="0" i="0" u="none" strike="noStrike" kern="1200" dirty="0">
                <a:solidFill>
                  <a:schemeClr val="tx1"/>
                </a:solidFill>
                <a:effectLst/>
                <a:latin typeface="Segoe UI Light" pitchFamily="34" charset="0"/>
                <a:ea typeface="+mn-ea"/>
                <a:cs typeface="+mn-cs"/>
              </a:rPr>
              <a:t> - identifies redundant and duplicate indexes, and indexes that were not used for a very long period of time. Please note that this option is not compatible with applications using partition switching and index hints.</a:t>
            </a:r>
          </a:p>
          <a:p>
            <a:r>
              <a:rPr lang="en-US" sz="800" b="1" i="0" u="none" strike="noStrike" kern="1200" dirty="0">
                <a:solidFill>
                  <a:schemeClr val="tx1"/>
                </a:solidFill>
                <a:effectLst/>
                <a:latin typeface="Segoe UI Light" pitchFamily="34" charset="0"/>
                <a:ea typeface="+mn-ea"/>
                <a:cs typeface="+mn-cs"/>
              </a:rPr>
              <a:t>FORCE LAST GOOD PLAN</a:t>
            </a:r>
            <a:r>
              <a:rPr lang="en-US" sz="800" b="0" i="0" u="none" strike="noStrike" kern="1200" dirty="0">
                <a:solidFill>
                  <a:schemeClr val="tx1"/>
                </a:solidFill>
                <a:effectLst/>
                <a:latin typeface="Segoe UI Light" pitchFamily="34" charset="0"/>
                <a:ea typeface="+mn-ea"/>
                <a:cs typeface="+mn-cs"/>
              </a:rPr>
              <a:t> - identifies SQL queries using execution plan that is slower than the previous good plan, and queries using the last known good plan instead of the regressed plan.</a:t>
            </a:r>
          </a:p>
          <a:p>
            <a:endParaRPr lang="en-US" sz="800" b="0" i="0" u="none" strike="noStrike" kern="1200" dirty="0">
              <a:solidFill>
                <a:schemeClr val="tx1"/>
              </a:solidFill>
              <a:effectLst/>
              <a:latin typeface="Segoe UI Light" pitchFamily="34" charset="0"/>
              <a:ea typeface="+mn-ea"/>
              <a:cs typeface="+mn-cs"/>
            </a:endParaRPr>
          </a:p>
          <a:p>
            <a:endParaRPr lang="en-US" sz="800" b="0" i="0" u="none" strike="noStrike" kern="1200" dirty="0">
              <a:solidFill>
                <a:schemeClr val="tx1"/>
              </a:solidFill>
              <a:effectLst/>
              <a:latin typeface="Segoe UI Light" pitchFamily="34" charset="0"/>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a:p>
        </p:txBody>
      </p:sp>
    </p:spTree>
    <p:extLst>
      <p:ext uri="{BB962C8B-B14F-4D97-AF65-F5344CB8AC3E}">
        <p14:creationId xmlns:p14="http://schemas.microsoft.com/office/powerpoint/2010/main" val="9486057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u="none" strike="noStrike" kern="1200" dirty="0">
                <a:solidFill>
                  <a:schemeClr val="tx1"/>
                </a:solidFill>
                <a:effectLst/>
                <a:latin typeface="Segoe UI Light" pitchFamily="34" charset="0"/>
                <a:ea typeface="+mn-ea"/>
                <a:cs typeface="+mn-cs"/>
              </a:rPr>
              <a:t>Create index recommendations</a:t>
            </a:r>
          </a:p>
          <a:p>
            <a:r>
              <a:rPr lang="en-US" sz="800" b="0" i="0" u="none" strike="noStrike" kern="1200" dirty="0">
                <a:solidFill>
                  <a:schemeClr val="tx1"/>
                </a:solidFill>
                <a:effectLst/>
                <a:latin typeface="Segoe UI Light" pitchFamily="34" charset="0"/>
                <a:ea typeface="+mn-ea"/>
                <a:cs typeface="+mn-cs"/>
              </a:rPr>
              <a:t>SQL Database continuously monitors the queries that are running and identifies the indexes that could improve performance. After there's enough confidence that a certain index is missing, a new </a:t>
            </a:r>
            <a:r>
              <a:rPr lang="en-US" sz="800" b="1" i="0" u="none" strike="noStrike" kern="1200" dirty="0">
                <a:solidFill>
                  <a:schemeClr val="tx1"/>
                </a:solidFill>
                <a:effectLst/>
                <a:latin typeface="Segoe UI Light" pitchFamily="34" charset="0"/>
                <a:ea typeface="+mn-ea"/>
                <a:cs typeface="+mn-cs"/>
              </a:rPr>
              <a:t>Create index</a:t>
            </a:r>
            <a:r>
              <a:rPr lang="en-US" sz="800" b="0" i="0" u="none" strike="noStrike" kern="1200" dirty="0">
                <a:solidFill>
                  <a:schemeClr val="tx1"/>
                </a:solidFill>
                <a:effectLst/>
                <a:latin typeface="Segoe UI Light" pitchFamily="34" charset="0"/>
                <a:ea typeface="+mn-ea"/>
                <a:cs typeface="+mn-cs"/>
              </a:rPr>
              <a:t> recommendation is created.</a:t>
            </a:r>
          </a:p>
          <a:p>
            <a:r>
              <a:rPr lang="en-US" sz="800" b="0" i="0" u="none" strike="noStrike" kern="1200" dirty="0">
                <a:solidFill>
                  <a:schemeClr val="tx1"/>
                </a:solidFill>
                <a:effectLst/>
                <a:latin typeface="Segoe UI Light" pitchFamily="34" charset="0"/>
                <a:ea typeface="+mn-ea"/>
                <a:cs typeface="+mn-cs"/>
              </a:rPr>
              <a:t>Azure SQL Database builds confidence by estimating the performance gain the index would bring through time. Depending on the estimated performance gain, recommendations are categorized as high, medium, or low. </a:t>
            </a:r>
          </a:p>
          <a:p>
            <a:r>
              <a:rPr lang="en-US" sz="800" b="0" i="0" u="none" strike="noStrike" kern="1200" dirty="0">
                <a:solidFill>
                  <a:schemeClr val="tx1"/>
                </a:solidFill>
                <a:effectLst/>
                <a:latin typeface="Segoe UI Light" pitchFamily="34" charset="0"/>
                <a:ea typeface="+mn-ea"/>
                <a:cs typeface="+mn-cs"/>
              </a:rPr>
              <a:t>Indexes that are created by using recommendations are always flagged as auto-created indexes. You can see which indexes are auto-created by looking at the </a:t>
            </a:r>
            <a:r>
              <a:rPr lang="en-US" sz="800" b="0" i="0" u="none" strike="noStrike" kern="1200" dirty="0" err="1">
                <a:solidFill>
                  <a:schemeClr val="tx1"/>
                </a:solidFill>
                <a:effectLst/>
                <a:latin typeface="Segoe UI Light" pitchFamily="34" charset="0"/>
                <a:ea typeface="+mn-ea"/>
                <a:cs typeface="+mn-cs"/>
              </a:rPr>
              <a:t>sys.indexes</a:t>
            </a:r>
            <a:r>
              <a:rPr lang="en-US" sz="800" b="0" i="0" u="none" strike="noStrike" kern="1200" dirty="0">
                <a:solidFill>
                  <a:schemeClr val="tx1"/>
                </a:solidFill>
                <a:effectLst/>
                <a:latin typeface="Segoe UI Light" pitchFamily="34" charset="0"/>
                <a:ea typeface="+mn-ea"/>
                <a:cs typeface="+mn-cs"/>
              </a:rPr>
              <a:t> view. Auto-created indexes don’t block ALTER/RENAME commands. </a:t>
            </a:r>
          </a:p>
          <a:p>
            <a:r>
              <a:rPr lang="en-US" sz="800" b="0" i="0" u="none" strike="noStrike" kern="1200" dirty="0">
                <a:solidFill>
                  <a:schemeClr val="tx1"/>
                </a:solidFill>
                <a:effectLst/>
                <a:latin typeface="Segoe UI Light" pitchFamily="34" charset="0"/>
                <a:ea typeface="+mn-ea"/>
                <a:cs typeface="+mn-cs"/>
              </a:rPr>
              <a:t>If you try to drop the column that has an auto-created index over it, the command passes. The auto-created index is dropped with the command as well. Regular indexes block the ALTER/RENAME command on columns that are indexed.</a:t>
            </a:r>
          </a:p>
          <a:p>
            <a:r>
              <a:rPr lang="en-US" sz="800" b="0" i="0" u="none" strike="noStrike" kern="1200" dirty="0">
                <a:solidFill>
                  <a:schemeClr val="tx1"/>
                </a:solidFill>
                <a:effectLst/>
                <a:latin typeface="Segoe UI Light" pitchFamily="34" charset="0"/>
                <a:ea typeface="+mn-ea"/>
                <a:cs typeface="+mn-cs"/>
              </a:rPr>
              <a:t>After the create index recommendation is applied, Azure SQL Database compares the performance of the queries with the baseline performance. If the new index improved performance, the recommendation is flagged as successful and the impact report is available. If the index didn’t improve performance, it's automatically reverted. SQL Database uses this process to ensure that recommendations improve database performance.</a:t>
            </a:r>
          </a:p>
          <a:p>
            <a:r>
              <a:rPr lang="en-US" sz="800" b="0" i="0" u="none" strike="noStrike" kern="1200" dirty="0">
                <a:solidFill>
                  <a:schemeClr val="tx1"/>
                </a:solidFill>
                <a:effectLst/>
                <a:latin typeface="Segoe UI Light" pitchFamily="34" charset="0"/>
                <a:ea typeface="+mn-ea"/>
                <a:cs typeface="+mn-cs"/>
              </a:rPr>
              <a:t>Any </a:t>
            </a:r>
            <a:r>
              <a:rPr lang="en-US" sz="800" b="1" i="0" u="none" strike="noStrike" kern="1200" dirty="0">
                <a:solidFill>
                  <a:schemeClr val="tx1"/>
                </a:solidFill>
                <a:effectLst/>
                <a:latin typeface="Segoe UI Light" pitchFamily="34" charset="0"/>
                <a:ea typeface="+mn-ea"/>
                <a:cs typeface="+mn-cs"/>
              </a:rPr>
              <a:t>create index</a:t>
            </a:r>
            <a:r>
              <a:rPr lang="en-US" sz="800" b="0" i="0" u="none" strike="noStrike" kern="1200" dirty="0">
                <a:solidFill>
                  <a:schemeClr val="tx1"/>
                </a:solidFill>
                <a:effectLst/>
                <a:latin typeface="Segoe UI Light" pitchFamily="34" charset="0"/>
                <a:ea typeface="+mn-ea"/>
                <a:cs typeface="+mn-cs"/>
              </a:rPr>
              <a:t> recommendation has a back-off policy that doesn't allow applying the recommendation if the resource usage of a database or pool is high. The back-off policy takes into account CPU, Data IO, Log IO, and available storage. </a:t>
            </a:r>
          </a:p>
          <a:p>
            <a:r>
              <a:rPr lang="en-US" sz="800" b="0" i="0" u="none" strike="noStrike" kern="1200" dirty="0">
                <a:solidFill>
                  <a:schemeClr val="tx1"/>
                </a:solidFill>
                <a:effectLst/>
                <a:latin typeface="Segoe UI Light" pitchFamily="34" charset="0"/>
                <a:ea typeface="+mn-ea"/>
                <a:cs typeface="+mn-cs"/>
              </a:rPr>
              <a:t>If CPU, Data IO, or Log IO is higher than 80% in the previous 30 minutes, the create index recommendation is postponed. If the available storage will be below 10% after the index is created, the recommendation goes into an error state. If, after a couple of days, automatic tuning still believes that the index would be beneficial, the process starts again. </a:t>
            </a:r>
          </a:p>
          <a:p>
            <a:r>
              <a:rPr lang="en-US" sz="800" b="0" i="0" u="none" strike="noStrike" kern="1200" dirty="0">
                <a:solidFill>
                  <a:schemeClr val="tx1"/>
                </a:solidFill>
                <a:effectLst/>
                <a:latin typeface="Segoe UI Light" pitchFamily="34" charset="0"/>
                <a:ea typeface="+mn-ea"/>
                <a:cs typeface="+mn-cs"/>
              </a:rPr>
              <a:t>This process repeats until there's enough available storage to create an index, or until the index isn't seen as beneficial anymore.</a:t>
            </a:r>
          </a:p>
          <a:p>
            <a:endParaRPr lang="en-US" sz="800" b="0" i="0" u="none" strike="noStrike" kern="1200" dirty="0">
              <a:solidFill>
                <a:schemeClr val="tx1"/>
              </a:solidFill>
              <a:effectLst/>
              <a:latin typeface="Segoe UI Light" pitchFamily="34" charset="0"/>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a:p>
        </p:txBody>
      </p:sp>
    </p:spTree>
    <p:extLst>
      <p:ext uri="{BB962C8B-B14F-4D97-AF65-F5344CB8AC3E}">
        <p14:creationId xmlns:p14="http://schemas.microsoft.com/office/powerpoint/2010/main" val="32862431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u="none" strike="noStrike" kern="1200" dirty="0">
                <a:solidFill>
                  <a:schemeClr val="tx1"/>
                </a:solidFill>
                <a:effectLst/>
                <a:latin typeface="Segoe UI Light" pitchFamily="34" charset="0"/>
                <a:ea typeface="+mn-ea"/>
                <a:cs typeface="+mn-cs"/>
              </a:rPr>
              <a:t>Drop index recommendations</a:t>
            </a:r>
          </a:p>
          <a:p>
            <a:r>
              <a:rPr lang="en-US" sz="800" b="0" i="0" u="none" strike="noStrike" kern="1200" dirty="0">
                <a:solidFill>
                  <a:schemeClr val="tx1"/>
                </a:solidFill>
                <a:effectLst/>
                <a:latin typeface="Segoe UI Light" pitchFamily="34" charset="0"/>
                <a:ea typeface="+mn-ea"/>
                <a:cs typeface="+mn-cs"/>
              </a:rPr>
              <a:t>Besides detecting missing indexes, SQL Database continuously analyzes the performance of existing indexes. If an index is not used, Azure SQL Database recommends dropping it. Dropping an index is recommended in two cases:</a:t>
            </a:r>
          </a:p>
          <a:p>
            <a:r>
              <a:rPr lang="en-US" sz="800" b="0" i="0" u="none" strike="noStrike" kern="1200" dirty="0">
                <a:solidFill>
                  <a:schemeClr val="tx1"/>
                </a:solidFill>
                <a:effectLst/>
                <a:latin typeface="Segoe UI Light" pitchFamily="34" charset="0"/>
                <a:ea typeface="+mn-ea"/>
                <a:cs typeface="+mn-cs"/>
              </a:rPr>
              <a:t>The index is a duplicate of another index (same indexed and included column, partition schema, and filters).</a:t>
            </a:r>
          </a:p>
          <a:p>
            <a:r>
              <a:rPr lang="en-US" sz="800" b="0" i="0" u="none" strike="noStrike" kern="1200" dirty="0">
                <a:solidFill>
                  <a:schemeClr val="tx1"/>
                </a:solidFill>
                <a:effectLst/>
                <a:latin typeface="Segoe UI Light" pitchFamily="34" charset="0"/>
                <a:ea typeface="+mn-ea"/>
                <a:cs typeface="+mn-cs"/>
              </a:rPr>
              <a:t>The index hasn't been used for a prolonged period (93 days).</a:t>
            </a:r>
          </a:p>
          <a:p>
            <a:r>
              <a:rPr lang="en-US" sz="800" b="0" i="0" u="none" strike="noStrike" kern="1200" dirty="0">
                <a:solidFill>
                  <a:schemeClr val="tx1"/>
                </a:solidFill>
                <a:effectLst/>
                <a:latin typeface="Segoe UI Light" pitchFamily="34" charset="0"/>
                <a:ea typeface="+mn-ea"/>
                <a:cs typeface="+mn-cs"/>
              </a:rPr>
              <a:t>Drop index recommendations also go through the verification after implementation. If the performance improves, the impact report is available. If performance degrades, the recommendation is reverted.</a:t>
            </a:r>
          </a:p>
          <a:p>
            <a:endParaRPr lang="en-US" sz="800" b="0" i="0" u="none" strike="noStrike" kern="1200" dirty="0">
              <a:solidFill>
                <a:schemeClr val="tx1"/>
              </a:solidFill>
              <a:effectLst/>
              <a:latin typeface="Segoe UI Light" pitchFamily="34" charset="0"/>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a:p>
        </p:txBody>
      </p:sp>
    </p:spTree>
    <p:extLst>
      <p:ext uri="{BB962C8B-B14F-4D97-AF65-F5344CB8AC3E}">
        <p14:creationId xmlns:p14="http://schemas.microsoft.com/office/powerpoint/2010/main" val="2491201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u="none" strike="noStrike" kern="1200" dirty="0">
                <a:solidFill>
                  <a:schemeClr val="tx1"/>
                </a:solidFill>
                <a:effectLst/>
                <a:latin typeface="Segoe UI Light" pitchFamily="34" charset="0"/>
                <a:ea typeface="+mn-ea"/>
                <a:cs typeface="+mn-cs"/>
              </a:rPr>
              <a:t>Parameterize queries recommendations</a:t>
            </a:r>
          </a:p>
          <a:p>
            <a:r>
              <a:rPr lang="en-US" sz="800" b="0" i="1" u="none" strike="noStrike" kern="1200" dirty="0">
                <a:solidFill>
                  <a:schemeClr val="tx1"/>
                </a:solidFill>
                <a:effectLst/>
                <a:latin typeface="Segoe UI Light" pitchFamily="34" charset="0"/>
                <a:ea typeface="+mn-ea"/>
                <a:cs typeface="+mn-cs"/>
              </a:rPr>
              <a:t>Parameterize queries</a:t>
            </a:r>
            <a:r>
              <a:rPr lang="en-US" sz="800" b="0" i="0" u="none" strike="noStrike" kern="1200" dirty="0">
                <a:solidFill>
                  <a:schemeClr val="tx1"/>
                </a:solidFill>
                <a:effectLst/>
                <a:latin typeface="Segoe UI Light" pitchFamily="34" charset="0"/>
                <a:ea typeface="+mn-ea"/>
                <a:cs typeface="+mn-cs"/>
              </a:rPr>
              <a:t> recommendations appear when you have one or more queries that are constantly being recompiled but end up with the same query execution plan. This condition creates an opportunity to apply forced parameterization. Forced parameterization, in turn, allows query plans to be cached and reused in the future, which improves performance and reduces resource usage. </a:t>
            </a:r>
          </a:p>
          <a:p>
            <a:r>
              <a:rPr lang="en-US" sz="800" b="0" i="0" u="none" strike="noStrike" kern="1200" dirty="0">
                <a:solidFill>
                  <a:schemeClr val="tx1"/>
                </a:solidFill>
                <a:effectLst/>
                <a:latin typeface="Segoe UI Light" pitchFamily="34" charset="0"/>
                <a:ea typeface="+mn-ea"/>
                <a:cs typeface="+mn-cs"/>
              </a:rPr>
              <a:t>Every query that's issued against SQL Server initially needs to be compiled to generate an execution plan. Each generated plan is added to the plan cache. Subsequent executions of the same query can reuse this plan from the cache, which eliminates the need for additional compilation. </a:t>
            </a:r>
          </a:p>
          <a:p>
            <a:r>
              <a:rPr lang="en-US" sz="800" b="0" i="0" u="none" strike="noStrike" kern="1200" dirty="0">
                <a:solidFill>
                  <a:schemeClr val="tx1"/>
                </a:solidFill>
                <a:effectLst/>
                <a:latin typeface="Segoe UI Light" pitchFamily="34" charset="0"/>
                <a:ea typeface="+mn-ea"/>
                <a:cs typeface="+mn-cs"/>
              </a:rPr>
              <a:t>Queries with non-parameterized values can lead to performance overhead because the execution plan is recompiled each time the non-parameterized values are different. In many cases, the same queries with different parameter values generate the same execution plans. These plans, however, are still separately added to the plan cache. </a:t>
            </a:r>
          </a:p>
          <a:p>
            <a:r>
              <a:rPr lang="en-US" sz="800" b="0" i="0" u="none" strike="noStrike" kern="1200" dirty="0">
                <a:solidFill>
                  <a:schemeClr val="tx1"/>
                </a:solidFill>
                <a:effectLst/>
                <a:latin typeface="Segoe UI Light" pitchFamily="34" charset="0"/>
                <a:ea typeface="+mn-ea"/>
                <a:cs typeface="+mn-cs"/>
              </a:rPr>
              <a:t>The process of recompiling execution plans uses database resources, increases the query duration time, and overflows the plan cache. These events, in turn, cause plans to be evicted from the cache. This SQL Server behavior can be altered by setting the forced parameterization option on the database. </a:t>
            </a:r>
          </a:p>
          <a:p>
            <a:r>
              <a:rPr lang="en-US" sz="800" b="0" i="0" u="none" strike="noStrike" kern="1200" dirty="0">
                <a:solidFill>
                  <a:schemeClr val="tx1"/>
                </a:solidFill>
                <a:effectLst/>
                <a:latin typeface="Segoe UI Light" pitchFamily="34" charset="0"/>
                <a:ea typeface="+mn-ea"/>
                <a:cs typeface="+mn-cs"/>
              </a:rPr>
              <a:t>To help you estimate the impact of this recommendation, you are provided with a comparison between the actual CPU usage and the projected CPU usage (as if the recommendation were applied). This recommendation can help you gain CPU savings. It can also help you decrease query duration and overhead for the plan cache, which means that more of the plans can stay in the cache and be reused. You can apply this recommendation quickly by selecting the </a:t>
            </a:r>
            <a:r>
              <a:rPr lang="en-US" sz="800" b="1" i="0" u="none" strike="noStrike" kern="1200" dirty="0">
                <a:solidFill>
                  <a:schemeClr val="tx1"/>
                </a:solidFill>
                <a:effectLst/>
                <a:latin typeface="Segoe UI Light" pitchFamily="34" charset="0"/>
                <a:ea typeface="+mn-ea"/>
                <a:cs typeface="+mn-cs"/>
              </a:rPr>
              <a:t>Apply</a:t>
            </a:r>
            <a:r>
              <a:rPr lang="en-US" sz="800" b="0" i="0" u="none" strike="noStrike" kern="1200" dirty="0">
                <a:solidFill>
                  <a:schemeClr val="tx1"/>
                </a:solidFill>
                <a:effectLst/>
                <a:latin typeface="Segoe UI Light" pitchFamily="34" charset="0"/>
                <a:ea typeface="+mn-ea"/>
                <a:cs typeface="+mn-cs"/>
              </a:rPr>
              <a:t> command. </a:t>
            </a:r>
          </a:p>
          <a:p>
            <a:r>
              <a:rPr lang="en-US" sz="800" b="0" i="0" u="none" strike="noStrike" kern="1200" dirty="0">
                <a:solidFill>
                  <a:schemeClr val="tx1"/>
                </a:solidFill>
                <a:effectLst/>
                <a:latin typeface="Segoe UI Light" pitchFamily="34" charset="0"/>
                <a:ea typeface="+mn-ea"/>
                <a:cs typeface="+mn-cs"/>
              </a:rPr>
              <a:t>After you apply this recommendation, it enables forced parameterization within minutes on your database. It starts the monitoring process, which lasts for approximately 24 hours. After this period, you can see the validation report. This report shows the CPU usage of your database 24 hours before and after the recommendation has been applied. SQL Database Advisor has a safety mechanism that automatically reverts the applied recommendation if performance regression has been detected.</a:t>
            </a:r>
          </a:p>
          <a:p>
            <a:endParaRPr lang="en-US" sz="800" b="0" i="0" u="none" strike="noStrike" kern="1200" dirty="0">
              <a:solidFill>
                <a:schemeClr val="tx1"/>
              </a:solidFill>
              <a:effectLst/>
              <a:latin typeface="Segoe UI Light" pitchFamily="34" charset="0"/>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a:p>
        </p:txBody>
      </p:sp>
    </p:spTree>
    <p:extLst>
      <p:ext uri="{BB962C8B-B14F-4D97-AF65-F5344CB8AC3E}">
        <p14:creationId xmlns:p14="http://schemas.microsoft.com/office/powerpoint/2010/main" val="14967241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cs typeface="Segoe UI Light"/>
              </a:rPr>
              <a:t>Question 1:</a:t>
            </a:r>
            <a:r>
              <a:rPr lang="en-US" dirty="0">
                <a:cs typeface="Segoe UI Light"/>
              </a:rPr>
              <a:t>List three types of recommendations from SQL Database Advisor? </a:t>
            </a:r>
          </a:p>
          <a:p>
            <a:r>
              <a:rPr lang="en-AU" dirty="0">
                <a:solidFill>
                  <a:srgbClr val="000000"/>
                </a:solidFill>
                <a:latin typeface="Segoe UI Light"/>
                <a:cs typeface="Segoe UI Light"/>
              </a:rPr>
              <a:t>Answer 1: Create Index, Drop Index and Parameterize queries recommendations</a:t>
            </a:r>
          </a:p>
          <a:p>
            <a:endParaRPr lang="en-US" dirty="0">
              <a:solidFill>
                <a:srgbClr val="000000"/>
              </a:solidFill>
              <a:latin typeface="Segoe UI Light"/>
              <a:cs typeface="Segoe UI Light"/>
            </a:endParaRPr>
          </a:p>
          <a:p>
            <a:r>
              <a:rPr lang="en-AU" dirty="0">
                <a:solidFill>
                  <a:srgbClr val="000000"/>
                </a:solidFill>
                <a:latin typeface="Segoe UI Light"/>
                <a:cs typeface="Segoe UI Light"/>
              </a:rPr>
              <a:t>Question 2: </a:t>
            </a:r>
            <a:r>
              <a:rPr lang="en-US" dirty="0">
                <a:solidFill>
                  <a:srgbClr val="000000"/>
                </a:solidFill>
                <a:latin typeface="Segoe UI Light"/>
                <a:cs typeface="Segoe UI Light"/>
              </a:rPr>
              <a:t>What could be a reason to disable the automatic tuning option?</a:t>
            </a:r>
          </a:p>
          <a:p>
            <a:r>
              <a:rPr lang="en-AU" dirty="0">
                <a:solidFill>
                  <a:srgbClr val="000000"/>
                </a:solidFill>
                <a:latin typeface="Segoe UI Light"/>
                <a:cs typeface="Segoe UI Light"/>
              </a:rPr>
              <a:t>Answer 2: You will lose index design control and it can even impact application performance.</a:t>
            </a:r>
          </a:p>
          <a:p>
            <a:endParaRPr lang="en-AU" dirty="0">
              <a:solidFill>
                <a:srgbClr val="000000"/>
              </a:solidFill>
              <a:latin typeface="Segoe UI Light"/>
              <a:cs typeface="Segoe UI Ligh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AU" dirty="0">
                <a:solidFill>
                  <a:srgbClr val="000000"/>
                </a:solidFill>
                <a:latin typeface="Segoe UI Light"/>
                <a:cs typeface="Segoe UI Light"/>
              </a:rPr>
              <a:t>Question 3: </a:t>
            </a:r>
            <a:r>
              <a:rPr lang="en-US" sz="900" dirty="0">
                <a:solidFill>
                  <a:srgbClr val="FFFFFF"/>
                </a:solidFill>
              </a:rPr>
              <a:t>What technology is used for Automatic Tuning</a:t>
            </a:r>
            <a:r>
              <a:rPr lang="en-US" sz="900" dirty="0">
                <a:solidFill>
                  <a:srgbClr val="000000"/>
                </a:solidFill>
                <a:latin typeface="Segoe UI Light"/>
                <a:cs typeface="Segoe UI Light"/>
              </a:rPr>
              <a:t>?</a:t>
            </a:r>
            <a:endParaRPr lang="en-US" dirty="0">
              <a:solidFill>
                <a:srgbClr val="000000"/>
              </a:solidFill>
              <a:latin typeface="Segoe UI Light"/>
              <a:cs typeface="Segoe UI Light"/>
            </a:endParaRPr>
          </a:p>
          <a:p>
            <a:r>
              <a:rPr lang="en-AU" dirty="0">
                <a:solidFill>
                  <a:srgbClr val="000000"/>
                </a:solidFill>
                <a:latin typeface="Segoe UI Light"/>
                <a:cs typeface="Segoe UI Light"/>
              </a:rPr>
              <a:t>Answer 3: </a:t>
            </a:r>
            <a:r>
              <a:rPr lang="en-US" b="0" dirty="0">
                <a:solidFill>
                  <a:srgbClr val="000000"/>
                </a:solidFill>
                <a:latin typeface="Segoe UI Light"/>
                <a:cs typeface="Segoe UI Light"/>
              </a:rPr>
              <a:t>Automatic tuning learns horizontally from all databases on Azure through </a:t>
            </a:r>
            <a:r>
              <a:rPr lang="en-US" b="1" dirty="0">
                <a:solidFill>
                  <a:srgbClr val="000000"/>
                </a:solidFill>
                <a:latin typeface="Segoe UI Light"/>
                <a:cs typeface="Segoe UI Light"/>
              </a:rPr>
              <a:t>Artificial Intelligence </a:t>
            </a:r>
            <a:r>
              <a:rPr lang="en-US" b="0" dirty="0">
                <a:solidFill>
                  <a:srgbClr val="000000"/>
                </a:solidFill>
                <a:latin typeface="Segoe UI Light"/>
                <a:cs typeface="Segoe UI Light"/>
              </a:rPr>
              <a:t>and it dynamically improves its tuning actions. The longer an Azure SQL Database runs with automatic tuning on, the better it performs.</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a:p>
        </p:txBody>
      </p:sp>
    </p:spTree>
    <p:extLst>
      <p:ext uri="{BB962C8B-B14F-4D97-AF65-F5344CB8AC3E}">
        <p14:creationId xmlns:p14="http://schemas.microsoft.com/office/powerpoint/2010/main" val="12088219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781957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SQL Database Intelligent Insights lets you know what is happening with your database performance.</a:t>
            </a:r>
          </a:p>
          <a:p>
            <a:r>
              <a:rPr lang="en-US" dirty="0"/>
              <a:t>Intelligent Insights uses built-in intelligence to continuously monitor database usage through artificial intelligence and detect disruptive events that cause poor performance. Once detected, a detailed analysis is performed that generates a diagnostics log with an intelligent assessment of the issue. This assessment consists of a root cause analysis of the database performance issue and, where possible, recommendations for performance improvements. </a:t>
            </a:r>
          </a:p>
          <a:p>
            <a:endParaRPr lang="en-US" dirty="0"/>
          </a:p>
          <a:p>
            <a:r>
              <a:rPr lang="en-US" dirty="0"/>
              <a:t>What can Intelligent Insights do for you?</a:t>
            </a:r>
          </a:p>
          <a:p>
            <a:r>
              <a:rPr lang="en-US" dirty="0"/>
              <a:t>Intelligent Insights is a unique capability of Azure built-in intelligence that provides the following value:</a:t>
            </a:r>
          </a:p>
          <a:p>
            <a:pPr marL="171450" indent="-171450">
              <a:buFont typeface="Arial" panose="020B0604020202020204" pitchFamily="34" charset="0"/>
              <a:buChar char="•"/>
            </a:pPr>
            <a:r>
              <a:rPr lang="en-US" dirty="0"/>
              <a:t>Proactive monitoring</a:t>
            </a:r>
          </a:p>
          <a:p>
            <a:pPr marL="171450" indent="-171450">
              <a:buFont typeface="Arial" panose="020B0604020202020204" pitchFamily="34" charset="0"/>
              <a:buChar char="•"/>
            </a:pPr>
            <a:r>
              <a:rPr lang="en-US" dirty="0"/>
              <a:t>Tailored performance insights</a:t>
            </a:r>
          </a:p>
          <a:p>
            <a:pPr marL="171450" indent="-171450">
              <a:buFont typeface="Arial" panose="020B0604020202020204" pitchFamily="34" charset="0"/>
              <a:buChar char="•"/>
            </a:pPr>
            <a:r>
              <a:rPr lang="en-US" dirty="0"/>
              <a:t>Early detection of database performance degradation</a:t>
            </a:r>
          </a:p>
          <a:p>
            <a:pPr marL="171450" indent="-171450">
              <a:buFont typeface="Arial" panose="020B0604020202020204" pitchFamily="34" charset="0"/>
              <a:buChar char="•"/>
            </a:pPr>
            <a:r>
              <a:rPr lang="en-US" dirty="0"/>
              <a:t>Root cause analysis of issues detected</a:t>
            </a:r>
          </a:p>
          <a:p>
            <a:pPr marL="171450" indent="-171450">
              <a:buFont typeface="Arial" panose="020B0604020202020204" pitchFamily="34" charset="0"/>
              <a:buChar char="•"/>
            </a:pPr>
            <a:r>
              <a:rPr lang="en-US" dirty="0"/>
              <a:t>Performance improvement recommendations</a:t>
            </a:r>
          </a:p>
          <a:p>
            <a:pPr marL="171450" indent="-171450">
              <a:buFont typeface="Arial" panose="020B0604020202020204" pitchFamily="34" charset="0"/>
              <a:buChar char="•"/>
            </a:pPr>
            <a:r>
              <a:rPr lang="en-US" dirty="0"/>
              <a:t>Scale out capability on hundreds of thousands of databases</a:t>
            </a:r>
          </a:p>
          <a:p>
            <a:pPr marL="171450" indent="-171450">
              <a:buFont typeface="Arial" panose="020B0604020202020204" pitchFamily="34" charset="0"/>
              <a:buChar char="•"/>
            </a:pPr>
            <a:r>
              <a:rPr lang="en-US" dirty="0"/>
              <a:t>Positive impact to DevOps resources and the total cost of ownership</a:t>
            </a:r>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1</a:t>
            </a:fld>
            <a:endParaRPr lang="en-US" noProof="0"/>
          </a:p>
        </p:txBody>
      </p:sp>
    </p:spTree>
    <p:extLst>
      <p:ext uri="{BB962C8B-B14F-4D97-AF65-F5344CB8AC3E}">
        <p14:creationId xmlns:p14="http://schemas.microsoft.com/office/powerpoint/2010/main" val="98278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Intelligent Insights analyzes SQL Database performance by comparing the database workload from the last hour with the past seven-day baseline workload. Database workload is composed of queries determined to be the most significant to the database performance, such as the most repeated and largest queries. Because each database is unique based on its structure, data, usage, and application, each workload baseline that is generated is specific and unique to an individual instance. Intelligent Insights, independent of the workload baseline, also monitors absolute operational thresholds and detects issues with excessive wait times, critical exceptions, and issues with query parameterizations that might affect performance.</a:t>
            </a:r>
          </a:p>
          <a:p>
            <a:r>
              <a:rPr lang="en-US" sz="800" b="0" i="0" u="none" strike="noStrike" kern="1200" dirty="0">
                <a:solidFill>
                  <a:schemeClr val="tx1"/>
                </a:solidFill>
                <a:effectLst/>
                <a:latin typeface="Segoe UI Light" pitchFamily="34" charset="0"/>
                <a:ea typeface="+mn-ea"/>
                <a:cs typeface="+mn-cs"/>
              </a:rPr>
              <a:t>After a performance degradation issue is detected from multiple observed metrics by using artificial intelligence, analysis is performed. A diagnostics log is generated with an intelligent insight on what is happening with your database. Intelligent Insights makes it easy to track the database performance issue from its first appearance until resolution. Each detected issue is tracked through its lifecycle from initial issue detection and verification of performance improvement to its completion. Updates are provided in the diagnostics log every 15 minutes. </a:t>
            </a:r>
          </a:p>
          <a:p>
            <a:endParaRPr lang="nl-BE" dirty="0"/>
          </a:p>
          <a:p>
            <a:r>
              <a:rPr lang="en-US" sz="800" b="0" i="0" u="none" strike="noStrike" kern="1200" dirty="0">
                <a:solidFill>
                  <a:schemeClr val="tx1"/>
                </a:solidFill>
                <a:effectLst/>
                <a:latin typeface="Segoe UI Light" pitchFamily="34" charset="0"/>
                <a:ea typeface="+mn-ea"/>
                <a:cs typeface="+mn-cs"/>
              </a:rPr>
              <a:t>The metrics used to measure and detect database performance issues are based on query duration, timeout requests, excessive wait times, and errored requests.</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Identified SQL Database performance degradations are recorded in the diagnostics log</a:t>
            </a:r>
          </a:p>
          <a:p>
            <a:r>
              <a:rPr lang="en-US" sz="800" b="0" i="0" u="none" strike="noStrike" kern="1200" dirty="0">
                <a:solidFill>
                  <a:schemeClr val="tx1"/>
                </a:solidFill>
                <a:effectLst/>
                <a:latin typeface="Segoe UI Light" pitchFamily="34" charset="0"/>
                <a:ea typeface="+mn-ea"/>
                <a:cs typeface="+mn-cs"/>
              </a:rPr>
              <a:t>Performance issues that are recorded in the diagnostics log are flagged with one of the three states of an issue lifecycle: "Active", "Verifying", and "Complete". After a performance issue is detected, and as long it's deemed as present by SQL Database built-in intelligence, the issue is flagged as "Active". When the issue is considered mitigated, it's verified and the issue status is changed to "Verifying". After SQL Database built-in intelligence considers the issue resolved, the issue status is flagged as "Complete".</a:t>
            </a:r>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a:p>
        </p:txBody>
      </p:sp>
    </p:spTree>
    <p:extLst>
      <p:ext uri="{BB962C8B-B14F-4D97-AF65-F5344CB8AC3E}">
        <p14:creationId xmlns:p14="http://schemas.microsoft.com/office/powerpoint/2010/main" val="22196083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Detailed information on each performance issue can be found on https://docs.microsoft.com/en-us/azure/sql-database/sql-database-intelligent-insights-troubleshoot-performance</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Detectable database performance patterns</a:t>
            </a:r>
          </a:p>
          <a:p>
            <a:r>
              <a:rPr lang="en-US" sz="800" b="0" i="0" u="none" strike="noStrike" kern="1200" dirty="0">
                <a:solidFill>
                  <a:schemeClr val="tx1"/>
                </a:solidFill>
                <a:effectLst/>
                <a:latin typeface="Segoe UI Light" pitchFamily="34" charset="0"/>
                <a:ea typeface="+mn-ea"/>
                <a:cs typeface="+mn-cs"/>
              </a:rPr>
              <a:t>Intelligent Insights automatically detects performance issues with SQL Database based on query execution wait times, errors, or time-outs. It then outputs detected performance patterns to the diagnostics log. Detectable performance patterns are summarized in the following table:</a:t>
            </a:r>
          </a:p>
          <a:p>
            <a:endParaRPr lang="nl-BE" b="0" dirty="0"/>
          </a:p>
          <a:p>
            <a:pPr rtl="0" eaLnBrk="1" fontAlgn="t" latinLnBrk="0" hangingPunct="1"/>
            <a:r>
              <a:rPr lang="nl-BE" sz="800" b="0" i="0" u="none" strike="noStrike" kern="1200" dirty="0">
                <a:solidFill>
                  <a:schemeClr val="tx1"/>
                </a:solidFill>
                <a:effectLst/>
                <a:latin typeface="Segoe UI Light" pitchFamily="34" charset="0"/>
                <a:ea typeface="+mn-ea"/>
                <a:cs typeface="+mn-cs"/>
                <a:hlinkClick r:id="rId3"/>
              </a:rPr>
              <a:t>Reaching resource limits</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en-US" sz="800" b="0" i="0" u="none" strike="noStrike" kern="1200" dirty="0">
                <a:solidFill>
                  <a:schemeClr val="tx1"/>
                </a:solidFill>
                <a:effectLst/>
                <a:latin typeface="Segoe UI Light" pitchFamily="34" charset="0"/>
                <a:ea typeface="+mn-ea"/>
                <a:cs typeface="+mn-cs"/>
              </a:rPr>
              <a:t>Consumption of available resources (DTUs), database worker threads, or database login sessions available on the monitored subscription has reached limits, which causes SQL Database performance issues.</a:t>
            </a:r>
            <a:endParaRPr lang="nl-BE" sz="800" b="0" i="0" u="none" strike="noStrike" kern="1200" dirty="0">
              <a:solidFill>
                <a:schemeClr val="tx1"/>
              </a:solidFill>
              <a:effectLst/>
              <a:latin typeface="Segoe UI Light" pitchFamily="34" charset="0"/>
              <a:ea typeface="+mn-ea"/>
              <a:cs typeface="+mn-cs"/>
            </a:endParaRPr>
          </a:p>
          <a:p>
            <a:endParaRPr lang="nl-BE" b="0" dirty="0"/>
          </a:p>
          <a:p>
            <a:pPr rtl="0" eaLnBrk="1" fontAlgn="t" latinLnBrk="0" hangingPunct="1"/>
            <a:r>
              <a:rPr lang="nl-BE" sz="800" b="0" i="0" u="none" strike="noStrike" kern="1200" dirty="0">
                <a:solidFill>
                  <a:schemeClr val="tx1"/>
                </a:solidFill>
                <a:effectLst/>
                <a:latin typeface="Segoe UI Light" pitchFamily="34" charset="0"/>
                <a:ea typeface="+mn-ea"/>
                <a:cs typeface="+mn-cs"/>
                <a:hlinkClick r:id="rId3"/>
              </a:rPr>
              <a:t>Workload Increase</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en-US" sz="800" b="0" i="0" u="none" strike="noStrike" kern="1200" dirty="0">
                <a:solidFill>
                  <a:schemeClr val="tx1"/>
                </a:solidFill>
                <a:effectLst/>
                <a:latin typeface="Segoe UI Light" pitchFamily="34" charset="0"/>
                <a:ea typeface="+mn-ea"/>
                <a:cs typeface="+mn-cs"/>
              </a:rPr>
              <a:t>Workload increase or continuous accumulation of workload on the database was detected, which causes SQL Database performance issues.</a:t>
            </a:r>
            <a:endParaRPr lang="nl-BE" sz="800" b="0" i="0" u="none" strike="noStrike" kern="1200" dirty="0">
              <a:solidFill>
                <a:schemeClr val="tx1"/>
              </a:solidFill>
              <a:effectLst/>
              <a:latin typeface="Segoe UI Light" pitchFamily="34" charset="0"/>
              <a:ea typeface="+mn-ea"/>
              <a:cs typeface="+mn-cs"/>
            </a:endParaRPr>
          </a:p>
          <a:p>
            <a:endParaRPr lang="nl-BE" b="0" dirty="0"/>
          </a:p>
          <a:p>
            <a:pPr rtl="0" eaLnBrk="1" fontAlgn="t" latinLnBrk="0" hangingPunct="1"/>
            <a:r>
              <a:rPr lang="nl-BE" sz="800" b="0" i="0" u="none" strike="noStrike" kern="1200" dirty="0">
                <a:solidFill>
                  <a:schemeClr val="tx1"/>
                </a:solidFill>
                <a:effectLst/>
                <a:latin typeface="Segoe UI Light" pitchFamily="34" charset="0"/>
                <a:ea typeface="+mn-ea"/>
                <a:cs typeface="+mn-cs"/>
                <a:hlinkClick r:id="rId3"/>
              </a:rPr>
              <a:t>Memory Pressure</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en-US" sz="800" b="0" i="0" u="none" strike="noStrike" kern="1200" dirty="0">
                <a:solidFill>
                  <a:schemeClr val="tx1"/>
                </a:solidFill>
                <a:effectLst/>
                <a:latin typeface="Segoe UI Light" pitchFamily="34" charset="0"/>
                <a:ea typeface="+mn-ea"/>
                <a:cs typeface="+mn-cs"/>
              </a:rPr>
              <a:t>Workers that requested memory grants have to wait for memory allocations for statistically significant amounts of time. Or an increased accumulation of workers that requested memory grants exists, which affects SQL Database performance.</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endParaRPr lang="nl-BE" sz="800" b="0" i="0" u="none" strike="noStrike" kern="1200" dirty="0">
              <a:solidFill>
                <a:schemeClr val="tx1"/>
              </a:solidFill>
              <a:effectLst/>
              <a:latin typeface="Segoe UI Light" pitchFamily="34" charset="0"/>
              <a:ea typeface="+mn-ea"/>
              <a:cs typeface="+mn-cs"/>
              <a:hlinkClick r:id="rId3"/>
            </a:endParaRPr>
          </a:p>
          <a:p>
            <a:pPr rtl="0" eaLnBrk="1" fontAlgn="t" latinLnBrk="0" hangingPunct="1"/>
            <a:r>
              <a:rPr lang="nl-BE" sz="800" b="0" i="0" u="none" strike="noStrike" kern="1200" dirty="0">
                <a:solidFill>
                  <a:schemeClr val="tx1"/>
                </a:solidFill>
                <a:effectLst/>
                <a:latin typeface="Segoe UI Light" pitchFamily="34" charset="0"/>
                <a:ea typeface="+mn-ea"/>
                <a:cs typeface="+mn-cs"/>
                <a:hlinkClick r:id="rId3"/>
              </a:rPr>
              <a:t>Locking</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en-US" sz="800" b="0" i="0" u="none" strike="noStrike" kern="1200" dirty="0">
                <a:solidFill>
                  <a:schemeClr val="tx1"/>
                </a:solidFill>
                <a:effectLst/>
                <a:latin typeface="Segoe UI Light" pitchFamily="34" charset="0"/>
                <a:ea typeface="+mn-ea"/>
                <a:cs typeface="+mn-cs"/>
              </a:rPr>
              <a:t>Excessive database locking was detected, which affects SQL Database performance.</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endParaRPr lang="nl-BE" sz="800" b="0" i="0" u="none" strike="noStrike" kern="1200" dirty="0">
              <a:solidFill>
                <a:schemeClr val="tx1"/>
              </a:solidFill>
              <a:effectLst/>
              <a:latin typeface="Segoe UI Light" pitchFamily="34" charset="0"/>
              <a:ea typeface="+mn-ea"/>
              <a:cs typeface="+mn-cs"/>
              <a:hlinkClick r:id="rId3"/>
            </a:endParaRPr>
          </a:p>
          <a:p>
            <a:pPr rtl="0" eaLnBrk="1" fontAlgn="t" latinLnBrk="0" hangingPunct="1"/>
            <a:r>
              <a:rPr lang="nl-BE" sz="800" b="0" i="0" u="none" strike="noStrike" kern="1200" dirty="0">
                <a:solidFill>
                  <a:schemeClr val="tx1"/>
                </a:solidFill>
                <a:effectLst/>
                <a:latin typeface="Segoe UI Light" pitchFamily="34" charset="0"/>
                <a:ea typeface="+mn-ea"/>
                <a:cs typeface="+mn-cs"/>
                <a:hlinkClick r:id="rId3"/>
              </a:rPr>
              <a:t>Increased MAXDOP</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en-US" sz="800" b="0" i="0" u="none" strike="noStrike" kern="1200" dirty="0">
                <a:solidFill>
                  <a:schemeClr val="tx1"/>
                </a:solidFill>
                <a:effectLst/>
                <a:latin typeface="Segoe UI Light" pitchFamily="34" charset="0"/>
                <a:ea typeface="+mn-ea"/>
                <a:cs typeface="+mn-cs"/>
              </a:rPr>
              <a:t>The maximum degree of parallelism option (MAXDOP) has changed, and it affects the query execution efficiency.</a:t>
            </a:r>
            <a:endParaRPr lang="nl-BE" sz="800" b="0" i="0" u="none" strike="noStrike" kern="1200" dirty="0">
              <a:solidFill>
                <a:schemeClr val="tx1"/>
              </a:solidFill>
              <a:effectLst/>
              <a:latin typeface="Segoe UI Light" pitchFamily="34" charset="0"/>
              <a:ea typeface="+mn-ea"/>
              <a:cs typeface="+mn-cs"/>
            </a:endParaRPr>
          </a:p>
          <a:p>
            <a:endParaRPr lang="nl-BE" b="0" dirty="0"/>
          </a:p>
          <a:p>
            <a:pPr rtl="0" eaLnBrk="1" fontAlgn="t" latinLnBrk="0" hangingPunct="1"/>
            <a:r>
              <a:rPr lang="nl-BE" sz="800" b="0" i="0" u="none" strike="noStrike" kern="1200" dirty="0">
                <a:solidFill>
                  <a:schemeClr val="tx1"/>
                </a:solidFill>
                <a:effectLst/>
                <a:latin typeface="Segoe UI Light" pitchFamily="34" charset="0"/>
                <a:ea typeface="+mn-ea"/>
                <a:cs typeface="+mn-cs"/>
                <a:hlinkClick r:id="rId3"/>
              </a:rPr>
              <a:t>Pagelatch Contention</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en-US" sz="800" b="0" i="0" u="none" strike="noStrike" kern="1200" dirty="0" err="1">
                <a:solidFill>
                  <a:schemeClr val="tx1"/>
                </a:solidFill>
                <a:effectLst/>
                <a:latin typeface="Segoe UI Light" pitchFamily="34" charset="0"/>
                <a:ea typeface="+mn-ea"/>
                <a:cs typeface="+mn-cs"/>
              </a:rPr>
              <a:t>Pagelatch</a:t>
            </a:r>
            <a:r>
              <a:rPr lang="en-US" sz="800" b="0" i="0" u="none" strike="noStrike" kern="1200" dirty="0">
                <a:solidFill>
                  <a:schemeClr val="tx1"/>
                </a:solidFill>
                <a:effectLst/>
                <a:latin typeface="Segoe UI Light" pitchFamily="34" charset="0"/>
                <a:ea typeface="+mn-ea"/>
                <a:cs typeface="+mn-cs"/>
              </a:rPr>
              <a:t> contention was detected, which affects SQL Database performance. Multiple threads concurrently attempt to access the same in-memory data buffer pages. This results in increased wait times, which affects SQL Database performance.</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endParaRPr lang="nl-BE" sz="800" b="0" i="0" u="none" strike="noStrike" kern="1200" dirty="0">
              <a:solidFill>
                <a:schemeClr val="tx1"/>
              </a:solidFill>
              <a:effectLst/>
              <a:latin typeface="Segoe UI Light" pitchFamily="34" charset="0"/>
              <a:ea typeface="+mn-ea"/>
              <a:cs typeface="+mn-cs"/>
              <a:hlinkClick r:id="rId3"/>
            </a:endParaRPr>
          </a:p>
          <a:p>
            <a:pPr rtl="0" eaLnBrk="1" fontAlgn="t" latinLnBrk="0" hangingPunct="1"/>
            <a:r>
              <a:rPr lang="nl-BE" sz="800" b="0" i="0" u="none" strike="noStrike" kern="1200" dirty="0">
                <a:solidFill>
                  <a:schemeClr val="tx1"/>
                </a:solidFill>
                <a:effectLst/>
                <a:latin typeface="Segoe UI Light" pitchFamily="34" charset="0"/>
                <a:ea typeface="+mn-ea"/>
                <a:cs typeface="+mn-cs"/>
                <a:hlinkClick r:id="rId3"/>
              </a:rPr>
              <a:t>Missing Index</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en-US" sz="800" b="0" i="0" u="none" strike="noStrike" kern="1200" dirty="0">
                <a:solidFill>
                  <a:schemeClr val="tx1"/>
                </a:solidFill>
                <a:effectLst/>
                <a:latin typeface="Segoe UI Light" pitchFamily="34" charset="0"/>
                <a:ea typeface="+mn-ea"/>
                <a:cs typeface="+mn-cs"/>
              </a:rPr>
              <a:t>A missing index issue was detected, which affects SQL Database performance.</a:t>
            </a:r>
            <a:endParaRPr lang="nl-BE" sz="800" b="0" i="0" u="none" strike="noStrike" kern="1200" dirty="0">
              <a:solidFill>
                <a:schemeClr val="tx1"/>
              </a:solidFill>
              <a:effectLst/>
              <a:latin typeface="Segoe UI Light" pitchFamily="34" charset="0"/>
              <a:ea typeface="+mn-ea"/>
              <a:cs typeface="+mn-cs"/>
            </a:endParaRPr>
          </a:p>
          <a:p>
            <a:endParaRPr lang="nl-BE" b="0"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3</a:t>
            </a:fld>
            <a:endParaRPr lang="en-US" noProof="0"/>
          </a:p>
        </p:txBody>
      </p:sp>
    </p:spTree>
    <p:extLst>
      <p:ext uri="{BB962C8B-B14F-4D97-AF65-F5344CB8AC3E}">
        <p14:creationId xmlns:p14="http://schemas.microsoft.com/office/powerpoint/2010/main" val="17073621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8/25/2021</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This lesson covers </a:t>
            </a:r>
            <a:r>
              <a:rPr lang="en-US" sz="800" kern="1200" dirty="0">
                <a:solidFill>
                  <a:schemeClr val="bg1"/>
                </a:solidFill>
                <a:latin typeface="Segoe UI Light" pitchFamily="34" charset="0"/>
                <a:ea typeface="+mn-ea"/>
                <a:cs typeface="Segoe UI"/>
              </a:rPr>
              <a:t>Monitoring and Troubleshooting Azure SQL Database</a:t>
            </a:r>
            <a:r>
              <a:rPr lang="en-US" dirty="0"/>
              <a:t>.</a:t>
            </a:r>
            <a:endParaRPr lang="nl-BE" dirty="0"/>
          </a:p>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t" latinLnBrk="0" hangingPunct="1"/>
            <a:r>
              <a:rPr lang="nl-BE" sz="800" b="0" i="0" u="none" strike="noStrike" kern="1200" dirty="0">
                <a:solidFill>
                  <a:schemeClr val="tx1"/>
                </a:solidFill>
                <a:effectLst/>
                <a:latin typeface="Segoe UI Light" pitchFamily="34" charset="0"/>
                <a:ea typeface="+mn-ea"/>
                <a:cs typeface="+mn-cs"/>
                <a:hlinkClick r:id="rId3"/>
              </a:rPr>
              <a:t>New Query</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en-US" sz="800" b="0" i="0" u="none" strike="noStrike" kern="1200" dirty="0">
                <a:solidFill>
                  <a:schemeClr val="tx1"/>
                </a:solidFill>
                <a:effectLst/>
                <a:latin typeface="Segoe UI Light" pitchFamily="34" charset="0"/>
                <a:ea typeface="+mn-ea"/>
                <a:cs typeface="+mn-cs"/>
              </a:rPr>
              <a:t>A new query was detected, which affects overall SQL Database performance.</a:t>
            </a:r>
          </a:p>
          <a:p>
            <a:pPr rtl="0" eaLnBrk="1" fontAlgn="t" latinLnBrk="0" hangingPunct="1"/>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nl-BE" sz="800" b="0" i="0" u="none" strike="noStrike" kern="1200" dirty="0">
                <a:solidFill>
                  <a:schemeClr val="tx1"/>
                </a:solidFill>
                <a:effectLst/>
                <a:latin typeface="Segoe UI Light" pitchFamily="34" charset="0"/>
                <a:ea typeface="+mn-ea"/>
                <a:cs typeface="+mn-cs"/>
                <a:hlinkClick r:id="rId3"/>
              </a:rPr>
              <a:t>Unusual Wait Statistic</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en-US" sz="800" b="0" i="0" u="none" strike="noStrike" kern="1200" dirty="0">
                <a:solidFill>
                  <a:schemeClr val="tx1"/>
                </a:solidFill>
                <a:effectLst/>
                <a:latin typeface="Segoe UI Light" pitchFamily="34" charset="0"/>
                <a:ea typeface="+mn-ea"/>
                <a:cs typeface="+mn-cs"/>
              </a:rPr>
              <a:t>Unusual database wait times were detected, which affects SQL Database performance.</a:t>
            </a:r>
          </a:p>
          <a:p>
            <a:pPr rtl="0" eaLnBrk="1" fontAlgn="t" latinLnBrk="0" hangingPunct="1"/>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nl-BE" sz="800" b="0" i="0" u="none" strike="noStrike" kern="1200" dirty="0">
                <a:solidFill>
                  <a:schemeClr val="tx1"/>
                </a:solidFill>
                <a:effectLst/>
                <a:latin typeface="Segoe UI Light" pitchFamily="34" charset="0"/>
                <a:ea typeface="+mn-ea"/>
                <a:cs typeface="+mn-cs"/>
                <a:hlinkClick r:id="rId3"/>
              </a:rPr>
              <a:t>TempDB Contention</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en-US" sz="800" b="0" i="0" u="none" strike="noStrike" kern="1200" dirty="0">
                <a:solidFill>
                  <a:schemeClr val="tx1"/>
                </a:solidFill>
                <a:effectLst/>
                <a:latin typeface="Segoe UI Light" pitchFamily="34" charset="0"/>
                <a:ea typeface="+mn-ea"/>
                <a:cs typeface="+mn-cs"/>
              </a:rPr>
              <a:t>Multiple threads try to access the same </a:t>
            </a:r>
            <a:r>
              <a:rPr lang="en-US" sz="800" b="0" i="0" u="none" strike="noStrike" kern="1200" dirty="0" err="1">
                <a:solidFill>
                  <a:schemeClr val="tx1"/>
                </a:solidFill>
                <a:effectLst/>
                <a:latin typeface="Segoe UI Light" pitchFamily="34" charset="0"/>
                <a:ea typeface="+mn-ea"/>
                <a:cs typeface="+mn-cs"/>
              </a:rPr>
              <a:t>tempDB</a:t>
            </a:r>
            <a:r>
              <a:rPr lang="en-US" sz="800" b="0" i="0" u="none" strike="noStrike" kern="1200" dirty="0">
                <a:solidFill>
                  <a:schemeClr val="tx1"/>
                </a:solidFill>
                <a:effectLst/>
                <a:latin typeface="Segoe UI Light" pitchFamily="34" charset="0"/>
                <a:ea typeface="+mn-ea"/>
                <a:cs typeface="+mn-cs"/>
              </a:rPr>
              <a:t> resources, which causes a bottleneck that affects SQL Database performance.</a:t>
            </a:r>
          </a:p>
          <a:p>
            <a:pPr rtl="0" eaLnBrk="1" fontAlgn="t" latinLnBrk="0" hangingPunct="1"/>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nl-BE" sz="800" b="0" i="0" u="none" strike="noStrike" kern="1200" dirty="0">
                <a:solidFill>
                  <a:schemeClr val="tx1"/>
                </a:solidFill>
                <a:effectLst/>
                <a:latin typeface="Segoe UI Light" pitchFamily="34" charset="0"/>
                <a:ea typeface="+mn-ea"/>
                <a:cs typeface="+mn-cs"/>
                <a:hlinkClick r:id="rId3"/>
              </a:rPr>
              <a:t>Elastic Pool DTU Shortage</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en-US" sz="800" b="0" i="0" u="none" strike="noStrike" kern="1200" dirty="0">
                <a:solidFill>
                  <a:schemeClr val="tx1"/>
                </a:solidFill>
                <a:effectLst/>
                <a:latin typeface="Segoe UI Light" pitchFamily="34" charset="0"/>
                <a:ea typeface="+mn-ea"/>
                <a:cs typeface="+mn-cs"/>
              </a:rPr>
              <a:t>A shortage of available </a:t>
            </a:r>
            <a:r>
              <a:rPr lang="en-US" sz="800" b="0" i="0" u="none" strike="noStrike" kern="1200" dirty="0" err="1">
                <a:solidFill>
                  <a:schemeClr val="tx1"/>
                </a:solidFill>
                <a:effectLst/>
                <a:latin typeface="Segoe UI Light" pitchFamily="34" charset="0"/>
                <a:ea typeface="+mn-ea"/>
                <a:cs typeface="+mn-cs"/>
              </a:rPr>
              <a:t>eDTUs</a:t>
            </a:r>
            <a:r>
              <a:rPr lang="en-US" sz="800" b="0" i="0" u="none" strike="noStrike" kern="1200" dirty="0">
                <a:solidFill>
                  <a:schemeClr val="tx1"/>
                </a:solidFill>
                <a:effectLst/>
                <a:latin typeface="Segoe UI Light" pitchFamily="34" charset="0"/>
                <a:ea typeface="+mn-ea"/>
                <a:cs typeface="+mn-cs"/>
              </a:rPr>
              <a:t> in the elastic pool affects SQL Database performance.</a:t>
            </a:r>
          </a:p>
          <a:p>
            <a:pPr rtl="0" eaLnBrk="1" fontAlgn="t" latinLnBrk="0" hangingPunct="1"/>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nl-BE" sz="800" b="0" i="0" u="none" strike="noStrike" kern="1200" dirty="0">
                <a:solidFill>
                  <a:schemeClr val="tx1"/>
                </a:solidFill>
                <a:effectLst/>
                <a:latin typeface="Segoe UI Light" pitchFamily="34" charset="0"/>
                <a:ea typeface="+mn-ea"/>
                <a:cs typeface="+mn-cs"/>
                <a:hlinkClick r:id="rId3"/>
              </a:rPr>
              <a:t>Plan Regression</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en-US" sz="800" b="0" i="0" u="none" strike="noStrike" kern="1200" dirty="0">
                <a:solidFill>
                  <a:schemeClr val="tx1"/>
                </a:solidFill>
                <a:effectLst/>
                <a:latin typeface="Segoe UI Light" pitchFamily="34" charset="0"/>
                <a:ea typeface="+mn-ea"/>
                <a:cs typeface="+mn-cs"/>
              </a:rPr>
              <a:t>A new plan or a change in the workload of an existing plan was detected, which affects SQL Database performance.</a:t>
            </a:r>
          </a:p>
          <a:p>
            <a:pPr rtl="0" eaLnBrk="1" fontAlgn="t" latinLnBrk="0" hangingPunct="1"/>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nl-BE" sz="800" b="0" i="0" u="none" strike="noStrike" kern="1200" dirty="0">
                <a:solidFill>
                  <a:schemeClr val="tx1"/>
                </a:solidFill>
                <a:effectLst/>
                <a:latin typeface="Segoe UI Light" pitchFamily="34" charset="0"/>
                <a:ea typeface="+mn-ea"/>
                <a:cs typeface="+mn-cs"/>
                <a:hlinkClick r:id="rId3"/>
              </a:rPr>
              <a:t>Database-Scoped Configuration Value Change</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en-US" sz="800" b="0" i="0" u="none" strike="noStrike" kern="1200" dirty="0">
                <a:solidFill>
                  <a:schemeClr val="tx1"/>
                </a:solidFill>
                <a:effectLst/>
                <a:latin typeface="Segoe UI Light" pitchFamily="34" charset="0"/>
                <a:ea typeface="+mn-ea"/>
                <a:cs typeface="+mn-cs"/>
              </a:rPr>
              <a:t>A configuration change on the database affects SQL Database performance.</a:t>
            </a:r>
          </a:p>
          <a:p>
            <a:pPr rtl="0" eaLnBrk="1" fontAlgn="t" latinLnBrk="0" hangingPunct="1"/>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nl-BE" sz="800" b="0" i="0" u="none" strike="noStrike" kern="1200" dirty="0">
                <a:solidFill>
                  <a:schemeClr val="tx1"/>
                </a:solidFill>
                <a:effectLst/>
                <a:latin typeface="Segoe UI Light" pitchFamily="34" charset="0"/>
                <a:ea typeface="+mn-ea"/>
                <a:cs typeface="+mn-cs"/>
                <a:hlinkClick r:id="rId3"/>
              </a:rPr>
              <a:t>Slow Client</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en-US" sz="800" b="0" i="0" u="none" strike="noStrike" kern="1200" dirty="0">
                <a:solidFill>
                  <a:schemeClr val="tx1"/>
                </a:solidFill>
                <a:effectLst/>
                <a:latin typeface="Segoe UI Light" pitchFamily="34" charset="0"/>
                <a:ea typeface="+mn-ea"/>
                <a:cs typeface="+mn-cs"/>
              </a:rPr>
              <a:t>A slow application client that is unable to consume output from the SQL Database fast enough was detected, which affects SQL Database performance.</a:t>
            </a:r>
          </a:p>
          <a:p>
            <a:pPr rtl="0" eaLnBrk="1" fontAlgn="t" latinLnBrk="0" hangingPunct="1"/>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nl-BE" sz="800" b="0" i="0" u="none" strike="noStrike" kern="1200" dirty="0">
                <a:solidFill>
                  <a:schemeClr val="tx1"/>
                </a:solidFill>
                <a:effectLst/>
                <a:latin typeface="Segoe UI Light" pitchFamily="34" charset="0"/>
                <a:ea typeface="+mn-ea"/>
                <a:cs typeface="+mn-cs"/>
                <a:hlinkClick r:id="rId3"/>
              </a:rPr>
              <a:t>Pricing Tier Downgrade</a:t>
            </a:r>
            <a:endParaRPr lang="nl-BE" sz="800" b="0" i="0" u="none" strike="noStrike" kern="1200" dirty="0">
              <a:solidFill>
                <a:schemeClr val="tx1"/>
              </a:solidFill>
              <a:effectLst/>
              <a:latin typeface="Segoe UI Light" pitchFamily="34" charset="0"/>
              <a:ea typeface="+mn-ea"/>
              <a:cs typeface="+mn-cs"/>
            </a:endParaRPr>
          </a:p>
          <a:p>
            <a:pPr rtl="0" eaLnBrk="1" fontAlgn="t" latinLnBrk="0" hangingPunct="1"/>
            <a:r>
              <a:rPr lang="en-US" sz="800" b="0" i="0" u="none" strike="noStrike" kern="1200" dirty="0">
                <a:solidFill>
                  <a:schemeClr val="tx1"/>
                </a:solidFill>
                <a:effectLst/>
                <a:latin typeface="Segoe UI Light" pitchFamily="34" charset="0"/>
                <a:ea typeface="+mn-ea"/>
                <a:cs typeface="+mn-cs"/>
              </a:rPr>
              <a:t>A pricing tier downgrade action decreased available resources, which affects SQL Database performance.</a:t>
            </a:r>
            <a:endParaRPr lang="nl-BE" sz="800" b="0" i="0" u="none" strike="noStrike" kern="1200" dirty="0">
              <a:solidFill>
                <a:schemeClr val="tx1"/>
              </a:solidFill>
              <a:effectLst/>
              <a:latin typeface="Segoe UI Light" pitchFamily="34" charset="0"/>
              <a:ea typeface="+mn-ea"/>
              <a:cs typeface="+mn-cs"/>
            </a:endParaRPr>
          </a:p>
          <a:p>
            <a:endParaRPr lang="nl-BE" b="0"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4</a:t>
            </a:fld>
            <a:endParaRPr lang="en-US" noProof="0"/>
          </a:p>
        </p:txBody>
      </p:sp>
    </p:spTree>
    <p:extLst>
      <p:ext uri="{BB962C8B-B14F-4D97-AF65-F5344CB8AC3E}">
        <p14:creationId xmlns:p14="http://schemas.microsoft.com/office/powerpoint/2010/main" val="22517437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Segoe UI Light" pitchFamily="34" charset="0"/>
                <a:ea typeface="+mn-ea"/>
                <a:cs typeface="+mn-cs"/>
              </a:rPr>
              <a:t>Intelligent Insights is a smart performance diagnostics log. It can be integrated with other products for consumption and specific applications such are Azure Log Analytics, Azure Event Hubs and Azure storage, or a third party products. </a:t>
            </a:r>
          </a:p>
          <a:p>
            <a:r>
              <a:rPr lang="en-US" sz="800" b="0" i="0" u="none" strike="noStrike" kern="1200" dirty="0">
                <a:solidFill>
                  <a:schemeClr val="tx1"/>
                </a:solidFill>
                <a:effectLst/>
                <a:latin typeface="Segoe UI Light" pitchFamily="34" charset="0"/>
                <a:ea typeface="+mn-ea"/>
                <a:cs typeface="+mn-cs"/>
              </a:rPr>
              <a:t>Intelligent Insights along with Azure Log Analytics is typically used to view the insights through a web browser and perhaps one of the easiest ways to get off the ground with using the product. Intelligent Insights along with Azure Event Hubs is typically used to configure custom monitoring and alerting scenarios. Intelligent insights along with Azure storage is typically used for custom application development, such is for example custom reporting, or perhaps data archiving and retrieval.</a:t>
            </a:r>
          </a:p>
          <a:p>
            <a:r>
              <a:rPr lang="en-US" sz="800" b="0" i="0" u="none" strike="noStrike" kern="1200" dirty="0">
                <a:solidFill>
                  <a:schemeClr val="tx1"/>
                </a:solidFill>
                <a:effectLst/>
                <a:latin typeface="Segoe UI Light" pitchFamily="34" charset="0"/>
                <a:ea typeface="+mn-ea"/>
                <a:cs typeface="+mn-cs"/>
              </a:rPr>
              <a:t>Integration of Intelligent Insights with other products Azure Log Analytics, Azure Event Hub, Azure storage, or third party products for consumption is performed through first enabling Intelligent Insights logging (</a:t>
            </a:r>
            <a:r>
              <a:rPr lang="en-US" sz="800" b="0" i="0" u="none" strike="noStrike" kern="1200" dirty="0" err="1">
                <a:solidFill>
                  <a:schemeClr val="tx1"/>
                </a:solidFill>
                <a:effectLst/>
                <a:latin typeface="Segoe UI Light" pitchFamily="34" charset="0"/>
                <a:ea typeface="+mn-ea"/>
                <a:cs typeface="+mn-cs"/>
              </a:rPr>
              <a:t>SQLInsights</a:t>
            </a:r>
            <a:r>
              <a:rPr lang="en-US" sz="800" b="0" i="0" u="none" strike="noStrike" kern="1200" dirty="0">
                <a:solidFill>
                  <a:schemeClr val="tx1"/>
                </a:solidFill>
                <a:effectLst/>
                <a:latin typeface="Segoe UI Light" pitchFamily="34" charset="0"/>
                <a:ea typeface="+mn-ea"/>
                <a:cs typeface="+mn-cs"/>
              </a:rPr>
              <a:t> log) and then configuring Intelligent Insights log data to be streamed into one of these products. For more information on how to enable Intelligent Insights logging and to configure log data to be streamed to a consuming product, see </a:t>
            </a:r>
            <a:r>
              <a:rPr lang="en-US" sz="800" b="0" i="0" u="sng" strike="noStrike" kern="1200" dirty="0">
                <a:solidFill>
                  <a:schemeClr val="tx1"/>
                </a:solidFill>
                <a:effectLst/>
                <a:latin typeface="Segoe UI Light" pitchFamily="34" charset="0"/>
                <a:ea typeface="+mn-ea"/>
                <a:cs typeface="+mn-cs"/>
                <a:hlinkClick r:id="rId3"/>
              </a:rPr>
              <a:t>Azure SQL Database metrics and diagnostics logging</a:t>
            </a:r>
            <a:r>
              <a:rPr lang="en-US" sz="800" b="0" i="0" u="none" strike="noStrike" kern="1200" dirty="0">
                <a:solidFill>
                  <a:schemeClr val="tx1"/>
                </a:solidFill>
                <a:effectLst/>
                <a:latin typeface="Segoe UI Light" pitchFamily="34" charset="0"/>
                <a:ea typeface="+mn-ea"/>
                <a:cs typeface="+mn-cs"/>
              </a:rPr>
              <a:t>. </a:t>
            </a:r>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5</a:t>
            </a:fld>
            <a:endParaRPr lang="en-US" noProof="0"/>
          </a:p>
        </p:txBody>
      </p:sp>
    </p:spTree>
    <p:extLst>
      <p:ext uri="{BB962C8B-B14F-4D97-AF65-F5344CB8AC3E}">
        <p14:creationId xmlns:p14="http://schemas.microsoft.com/office/powerpoint/2010/main" val="5571650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a:p>
        </p:txBody>
      </p:sp>
    </p:spTree>
    <p:extLst>
      <p:ext uri="{BB962C8B-B14F-4D97-AF65-F5344CB8AC3E}">
        <p14:creationId xmlns:p14="http://schemas.microsoft.com/office/powerpoint/2010/main" val="17430690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7</a:t>
            </a:fld>
            <a:endParaRPr lang="en-US" noProof="0"/>
          </a:p>
        </p:txBody>
      </p:sp>
    </p:spTree>
    <p:extLst>
      <p:ext uri="{BB962C8B-B14F-4D97-AF65-F5344CB8AC3E}">
        <p14:creationId xmlns:p14="http://schemas.microsoft.com/office/powerpoint/2010/main" val="8038157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dirty="0">
                <a:solidFill>
                  <a:srgbClr val="000000"/>
                </a:solidFill>
                <a:latin typeface="Consolas" panose="020B0609020204030204" pitchFamily="49" charset="0"/>
              </a:rPr>
              <a:t>M05L04Demo01</a:t>
            </a:r>
          </a:p>
          <a:p>
            <a:endParaRPr lang="en-US" sz="800" b="1" i="0" u="none" strike="noStrike" kern="1200" dirty="0">
              <a:solidFill>
                <a:schemeClr val="tx1"/>
              </a:solidFill>
              <a:effectLst/>
              <a:latin typeface="Segoe UI Light" pitchFamily="34" charset="0"/>
              <a:ea typeface="+mn-ea"/>
              <a:cs typeface="+mn-cs"/>
            </a:endParaRPr>
          </a:p>
          <a:p>
            <a:r>
              <a:rPr lang="en-US" sz="800" b="1" i="0" u="none" strike="noStrike" kern="1200" dirty="0">
                <a:solidFill>
                  <a:schemeClr val="tx1"/>
                </a:solidFill>
                <a:effectLst/>
                <a:latin typeface="Segoe UI Light" pitchFamily="34" charset="0"/>
                <a:ea typeface="+mn-ea"/>
                <a:cs typeface="+mn-cs"/>
              </a:rPr>
              <a:t>Demo Requirements</a:t>
            </a:r>
          </a:p>
          <a:p>
            <a:r>
              <a:rPr lang="en-US" sz="800" b="0" i="0" u="none" strike="noStrike" kern="1200" dirty="0" err="1">
                <a:solidFill>
                  <a:schemeClr val="tx1"/>
                </a:solidFill>
                <a:effectLst/>
                <a:latin typeface="Segoe UI Light" pitchFamily="34" charset="0"/>
                <a:ea typeface="+mn-ea"/>
                <a:cs typeface="+mn-cs"/>
              </a:rPr>
              <a:t>Salesdb</a:t>
            </a:r>
            <a:r>
              <a:rPr lang="en-US" sz="800" b="0" i="0" u="none" strike="noStrike" kern="1200" dirty="0">
                <a:solidFill>
                  <a:schemeClr val="tx1"/>
                </a:solidFill>
                <a:effectLst/>
                <a:latin typeface="Segoe UI Light" pitchFamily="34" charset="0"/>
                <a:ea typeface="+mn-ea"/>
                <a:cs typeface="+mn-cs"/>
              </a:rPr>
              <a:t> that has been created in module 1</a:t>
            </a:r>
          </a:p>
          <a:p>
            <a:endParaRPr lang="en-US" sz="800" b="1" i="0" u="none" strike="noStrike" kern="1200" dirty="0">
              <a:solidFill>
                <a:schemeClr val="tx1"/>
              </a:solidFill>
              <a:effectLst/>
              <a:latin typeface="Segoe UI Light" pitchFamily="34" charset="0"/>
              <a:ea typeface="+mn-ea"/>
              <a:cs typeface="+mn-cs"/>
            </a:endParaRPr>
          </a:p>
          <a:p>
            <a:r>
              <a:rPr lang="en-US" sz="800" b="1" i="0" u="none" strike="noStrike" kern="1200" dirty="0">
                <a:solidFill>
                  <a:schemeClr val="tx1"/>
                </a:solidFill>
                <a:effectLst/>
                <a:latin typeface="Segoe UI Light" pitchFamily="34" charset="0"/>
                <a:ea typeface="+mn-ea"/>
                <a:cs typeface="+mn-cs"/>
              </a:rPr>
              <a:t>Create a Log Analytics resource</a:t>
            </a:r>
          </a:p>
          <a:p>
            <a:r>
              <a:rPr lang="en-US" sz="800" b="0" i="0" u="none" strike="noStrike" kern="1200" dirty="0">
                <a:solidFill>
                  <a:schemeClr val="tx1"/>
                </a:solidFill>
                <a:effectLst/>
                <a:latin typeface="Segoe UI Light" pitchFamily="34" charset="0"/>
                <a:ea typeface="+mn-ea"/>
                <a:cs typeface="+mn-cs"/>
              </a:rPr>
              <a:t>Select </a:t>
            </a:r>
            <a:r>
              <a:rPr lang="en-US" sz="800" b="1" i="0" u="none" strike="noStrike" kern="1200" dirty="0">
                <a:solidFill>
                  <a:schemeClr val="tx1"/>
                </a:solidFill>
                <a:effectLst/>
                <a:latin typeface="Segoe UI Light" pitchFamily="34" charset="0"/>
                <a:ea typeface="+mn-ea"/>
                <a:cs typeface="+mn-cs"/>
              </a:rPr>
              <a:t>Create a resource</a:t>
            </a:r>
            <a:r>
              <a:rPr lang="en-US" sz="800" b="0" i="0" u="none" strike="noStrike" kern="1200" dirty="0">
                <a:solidFill>
                  <a:schemeClr val="tx1"/>
                </a:solidFill>
                <a:effectLst/>
                <a:latin typeface="Segoe UI Light" pitchFamily="34" charset="0"/>
                <a:ea typeface="+mn-ea"/>
                <a:cs typeface="+mn-cs"/>
              </a:rPr>
              <a:t> in the menu on the left.</a:t>
            </a:r>
          </a:p>
          <a:p>
            <a:r>
              <a:rPr lang="en-US" sz="800" b="0" i="0" u="none" strike="noStrike" kern="1200" dirty="0">
                <a:solidFill>
                  <a:schemeClr val="tx1"/>
                </a:solidFill>
                <a:effectLst/>
                <a:latin typeface="Segoe UI Light" pitchFamily="34" charset="0"/>
                <a:ea typeface="+mn-ea"/>
                <a:cs typeface="+mn-cs"/>
              </a:rPr>
              <a:t>Select </a:t>
            </a:r>
            <a:r>
              <a:rPr lang="en-US" sz="800" b="1" kern="1200" dirty="0">
                <a:solidFill>
                  <a:schemeClr val="tx1"/>
                </a:solidFill>
                <a:effectLst/>
                <a:latin typeface="Segoe UI Light" pitchFamily="34" charset="0"/>
                <a:ea typeface="+mn-ea"/>
                <a:cs typeface="+mn-cs"/>
              </a:rPr>
              <a:t>IT &amp; Management Tools</a:t>
            </a:r>
            <a:r>
              <a:rPr lang="en-US" sz="800" b="0" i="0" u="none" strike="noStrike" kern="1200" dirty="0">
                <a:solidFill>
                  <a:schemeClr val="tx1"/>
                </a:solidFill>
                <a:effectLst/>
                <a:latin typeface="Segoe UI Light" pitchFamily="34" charset="0"/>
                <a:ea typeface="+mn-ea"/>
                <a:cs typeface="+mn-cs"/>
              </a:rPr>
              <a:t>.</a:t>
            </a:r>
          </a:p>
          <a:p>
            <a:r>
              <a:rPr lang="en-US" sz="800" b="0" i="0" u="none" strike="noStrike" kern="1200" dirty="0">
                <a:solidFill>
                  <a:schemeClr val="tx1"/>
                </a:solidFill>
                <a:effectLst/>
                <a:latin typeface="Segoe UI Light" pitchFamily="34" charset="0"/>
                <a:ea typeface="+mn-ea"/>
                <a:cs typeface="+mn-cs"/>
              </a:rPr>
              <a:t>Select </a:t>
            </a:r>
            <a:r>
              <a:rPr lang="en-US" sz="800" b="1" i="0" u="none" strike="noStrike" kern="1200" dirty="0">
                <a:solidFill>
                  <a:schemeClr val="tx1"/>
                </a:solidFill>
                <a:effectLst/>
                <a:latin typeface="Segoe UI Light" pitchFamily="34" charset="0"/>
                <a:ea typeface="+mn-ea"/>
                <a:cs typeface="+mn-cs"/>
              </a:rPr>
              <a:t>Log Analytics</a:t>
            </a:r>
            <a:r>
              <a:rPr lang="en-US" sz="800" b="0" i="0" u="none" strike="noStrike" kern="1200" dirty="0">
                <a:solidFill>
                  <a:schemeClr val="tx1"/>
                </a:solidFill>
                <a:effectLst/>
                <a:latin typeface="Segoe UI Light" pitchFamily="34" charset="0"/>
                <a:ea typeface="+mn-ea"/>
                <a:cs typeface="+mn-cs"/>
              </a:rPr>
              <a:t>.</a:t>
            </a:r>
          </a:p>
          <a:p>
            <a:r>
              <a:rPr lang="en-US" sz="800" b="0" i="0" u="none" strike="noStrike" kern="1200" dirty="0">
                <a:solidFill>
                  <a:schemeClr val="tx1"/>
                </a:solidFill>
                <a:effectLst/>
                <a:latin typeface="Segoe UI Light" pitchFamily="34" charset="0"/>
                <a:ea typeface="+mn-ea"/>
                <a:cs typeface="+mn-cs"/>
              </a:rPr>
              <a:t>Fill in the Log Analytics form with the additional information that is required: </a:t>
            </a:r>
          </a:p>
          <a:p>
            <a:pPr marL="171450" indent="-171450">
              <a:buFontTx/>
              <a:buChar char="-"/>
            </a:pPr>
            <a:r>
              <a:rPr lang="en-US" sz="800" b="0" i="0" u="none" strike="noStrike" kern="1200" dirty="0">
                <a:solidFill>
                  <a:schemeClr val="tx1"/>
                </a:solidFill>
                <a:effectLst/>
                <a:latin typeface="Segoe UI Light" pitchFamily="34" charset="0"/>
                <a:ea typeface="+mn-ea"/>
                <a:cs typeface="+mn-cs"/>
              </a:rPr>
              <a:t>workspace name, use a unique name</a:t>
            </a:r>
          </a:p>
          <a:p>
            <a:pPr marL="171450" indent="-171450">
              <a:buFontTx/>
              <a:buChar char="-"/>
            </a:pPr>
            <a:r>
              <a:rPr lang="en-US" sz="800" b="0" i="0" u="none" strike="noStrike" kern="1200" dirty="0">
                <a:solidFill>
                  <a:schemeClr val="tx1"/>
                </a:solidFill>
                <a:effectLst/>
                <a:latin typeface="Segoe UI Light" pitchFamily="34" charset="0"/>
                <a:ea typeface="+mn-ea"/>
                <a:cs typeface="+mn-cs"/>
              </a:rPr>
              <a:t>Subscription</a:t>
            </a:r>
          </a:p>
          <a:p>
            <a:pPr marL="171450" indent="-171450">
              <a:buFontTx/>
              <a:buChar char="-"/>
            </a:pPr>
            <a:r>
              <a:rPr lang="en-US" sz="800" b="0" i="0" u="none" strike="noStrike" kern="1200" dirty="0">
                <a:solidFill>
                  <a:schemeClr val="tx1"/>
                </a:solidFill>
                <a:effectLst/>
                <a:latin typeface="Segoe UI Light" pitchFamily="34" charset="0"/>
                <a:ea typeface="+mn-ea"/>
                <a:cs typeface="+mn-cs"/>
              </a:rPr>
              <a:t>resource group, use the same resource group as your logical server</a:t>
            </a:r>
          </a:p>
          <a:p>
            <a:pPr marL="171450" indent="-171450">
              <a:buFontTx/>
              <a:buChar char="-"/>
            </a:pPr>
            <a:r>
              <a:rPr lang="en-US" sz="800" b="0" i="0" u="none" strike="noStrike" kern="1200" dirty="0">
                <a:solidFill>
                  <a:schemeClr val="tx1"/>
                </a:solidFill>
                <a:effectLst/>
                <a:latin typeface="Segoe UI Light" pitchFamily="34" charset="0"/>
                <a:ea typeface="+mn-ea"/>
                <a:cs typeface="+mn-cs"/>
              </a:rPr>
              <a:t>Location – select the closest region</a:t>
            </a:r>
          </a:p>
          <a:p>
            <a:pPr marL="171450" indent="-171450">
              <a:buFontTx/>
              <a:buChar char="-"/>
            </a:pPr>
            <a:r>
              <a:rPr lang="en-US" sz="800" b="0" i="0" u="none" strike="noStrike" kern="1200" dirty="0">
                <a:solidFill>
                  <a:schemeClr val="tx1"/>
                </a:solidFill>
                <a:effectLst/>
                <a:latin typeface="Segoe UI Light" pitchFamily="34" charset="0"/>
                <a:ea typeface="+mn-ea"/>
                <a:cs typeface="+mn-cs"/>
              </a:rPr>
              <a:t>pricing tier – select free</a:t>
            </a:r>
          </a:p>
          <a:p>
            <a:pPr marL="0" indent="0">
              <a:buFontTx/>
              <a:buNone/>
            </a:pPr>
            <a:endParaRPr lang="en-US" sz="800" b="0" i="0" u="none" strike="noStrike" kern="1200" dirty="0">
              <a:solidFill>
                <a:schemeClr val="tx1"/>
              </a:solidFill>
              <a:effectLst/>
              <a:latin typeface="Segoe UI Light" pitchFamily="34" charset="0"/>
              <a:ea typeface="+mn-ea"/>
              <a:cs typeface="+mn-cs"/>
            </a:endParaRPr>
          </a:p>
          <a:p>
            <a:pPr marL="0" indent="0">
              <a:buFontTx/>
              <a:buNone/>
            </a:pPr>
            <a:r>
              <a:rPr lang="en-US" sz="800" b="0" i="0" u="none" strike="noStrike" kern="1200" dirty="0">
                <a:solidFill>
                  <a:schemeClr val="tx1"/>
                </a:solidFill>
                <a:effectLst/>
                <a:latin typeface="Segoe UI Light" pitchFamily="34" charset="0"/>
                <a:ea typeface="+mn-ea"/>
                <a:cs typeface="+mn-cs"/>
              </a:rPr>
              <a:t>Click on OK and wait until the deployment is finished</a:t>
            </a:r>
          </a:p>
          <a:p>
            <a:pPr marL="0" indent="0">
              <a:buFont typeface="Arial" panose="020B0604020202020204" pitchFamily="34" charset="0"/>
              <a:buNone/>
            </a:pPr>
            <a:endParaRPr lang="en-US" sz="800" b="0" i="0" u="none" strike="noStrike"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800" b="1" i="0" u="none" strike="noStrike" kern="1200" dirty="0">
                <a:solidFill>
                  <a:schemeClr val="tx1"/>
                </a:solidFill>
                <a:effectLst/>
                <a:latin typeface="Segoe UI Light" pitchFamily="34" charset="0"/>
                <a:ea typeface="+mn-ea"/>
                <a:cs typeface="+mn-cs"/>
              </a:rPr>
              <a:t>Configure databases to record metrics and diagnostics logs</a:t>
            </a:r>
            <a:endParaRPr lang="en-US" sz="800" b="0" i="0" u="none" strike="noStrike"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800" b="0" i="0" u="none" strike="noStrike" kern="1200" dirty="0">
                <a:solidFill>
                  <a:schemeClr val="tx1"/>
                </a:solidFill>
                <a:effectLst/>
                <a:latin typeface="Segoe UI Light" pitchFamily="34" charset="0"/>
                <a:ea typeface="+mn-ea"/>
                <a:cs typeface="+mn-cs"/>
              </a:rPr>
              <a:t>To enable metrics and diagnostics logs collection in the portal, go to your SQL Database or elastic pool page, and then select </a:t>
            </a:r>
            <a:r>
              <a:rPr lang="en-US" sz="800" b="1" i="0" u="none" strike="noStrike" kern="1200" dirty="0">
                <a:solidFill>
                  <a:schemeClr val="tx1"/>
                </a:solidFill>
                <a:effectLst/>
                <a:latin typeface="Segoe UI Light" pitchFamily="34" charset="0"/>
                <a:ea typeface="+mn-ea"/>
                <a:cs typeface="+mn-cs"/>
              </a:rPr>
              <a:t>Diagnostics settings</a:t>
            </a:r>
            <a:r>
              <a:rPr lang="en-US" sz="800" b="0" i="0" u="none" strike="noStrike" kern="1200" dirty="0">
                <a:solidFill>
                  <a:schemeClr val="tx1"/>
                </a:solidFill>
                <a:effectLst/>
                <a:latin typeface="Segoe UI Light" pitchFamily="34" charset="0"/>
                <a:ea typeface="+mn-ea"/>
                <a:cs typeface="+mn-cs"/>
              </a:rPr>
              <a:t>.</a:t>
            </a:r>
          </a:p>
          <a:p>
            <a:pPr marL="0" indent="0">
              <a:buFont typeface="Arial" panose="020B0604020202020204" pitchFamily="34" charset="0"/>
              <a:buNone/>
            </a:pPr>
            <a:r>
              <a:rPr lang="en-US" sz="800" b="0" i="0" u="none" strike="noStrike" kern="1200" dirty="0">
                <a:solidFill>
                  <a:schemeClr val="tx1"/>
                </a:solidFill>
                <a:effectLst/>
                <a:latin typeface="Segoe UI Light" pitchFamily="34" charset="0"/>
                <a:ea typeface="+mn-ea"/>
                <a:cs typeface="+mn-cs"/>
              </a:rPr>
              <a:t>Click on “Turn on Diagnostics”</a:t>
            </a:r>
          </a:p>
          <a:p>
            <a:pPr marL="0" indent="0">
              <a:buFont typeface="Arial" panose="020B0604020202020204" pitchFamily="34" charset="0"/>
              <a:buNone/>
            </a:pPr>
            <a:r>
              <a:rPr lang="en-US" sz="800" b="0" i="0" u="none" strike="noStrike" kern="1200" dirty="0">
                <a:solidFill>
                  <a:schemeClr val="tx1"/>
                </a:solidFill>
                <a:effectLst/>
                <a:latin typeface="Segoe UI Light" pitchFamily="34" charset="0"/>
                <a:ea typeface="+mn-ea"/>
                <a:cs typeface="+mn-cs"/>
              </a:rPr>
              <a:t>Specify the following settings:</a:t>
            </a:r>
          </a:p>
          <a:p>
            <a:pPr marL="171450" indent="-171450">
              <a:buFontTx/>
              <a:buChar char="-"/>
            </a:pPr>
            <a:r>
              <a:rPr lang="en-US" sz="800" b="0" i="0" u="none" strike="noStrike" kern="1200" dirty="0">
                <a:solidFill>
                  <a:schemeClr val="tx1"/>
                </a:solidFill>
                <a:effectLst/>
                <a:latin typeface="Segoe UI Light" pitchFamily="34" charset="0"/>
                <a:ea typeface="+mn-ea"/>
                <a:cs typeface="+mn-cs"/>
              </a:rPr>
              <a:t>Name</a:t>
            </a:r>
          </a:p>
          <a:p>
            <a:pPr marL="171450" indent="-171450">
              <a:buFontTx/>
              <a:buChar char="-"/>
            </a:pPr>
            <a:r>
              <a:rPr lang="en-US" sz="800" b="0" i="0" u="none" strike="noStrike" kern="1200" dirty="0">
                <a:solidFill>
                  <a:schemeClr val="tx1"/>
                </a:solidFill>
                <a:effectLst/>
                <a:latin typeface="Segoe UI Light" pitchFamily="34" charset="0"/>
                <a:ea typeface="+mn-ea"/>
                <a:cs typeface="+mn-cs"/>
              </a:rPr>
              <a:t>Send to Log Analytics. Click on Log Analytics and select the OMS Workspace that you just created in step 1</a:t>
            </a:r>
          </a:p>
          <a:p>
            <a:pPr marL="171450" indent="-171450">
              <a:buFontTx/>
              <a:buChar char="-"/>
            </a:pPr>
            <a:r>
              <a:rPr lang="en-US" sz="800" b="0" i="0" u="none" strike="noStrike" kern="1200" dirty="0">
                <a:solidFill>
                  <a:schemeClr val="tx1"/>
                </a:solidFill>
                <a:effectLst/>
                <a:latin typeface="Segoe UI Light" pitchFamily="34" charset="0"/>
                <a:ea typeface="+mn-ea"/>
                <a:cs typeface="+mn-cs"/>
              </a:rPr>
              <a:t>Select all the Log &amp; Metrics</a:t>
            </a:r>
          </a:p>
          <a:p>
            <a:pPr marL="171450" indent="-171450">
              <a:buFontTx/>
              <a:buChar char="-"/>
            </a:pPr>
            <a:endParaRPr lang="en-US" sz="800" b="0" i="0" u="none" strike="noStrike" kern="1200" dirty="0">
              <a:solidFill>
                <a:schemeClr val="tx1"/>
              </a:solidFill>
              <a:effectLst/>
              <a:latin typeface="Segoe UI Light" pitchFamily="34" charset="0"/>
              <a:ea typeface="+mn-ea"/>
              <a:cs typeface="+mn-cs"/>
            </a:endParaRPr>
          </a:p>
          <a:p>
            <a:pPr marL="0" indent="0">
              <a:buFontTx/>
              <a:buNone/>
            </a:pPr>
            <a:r>
              <a:rPr lang="en-US" sz="800" b="0" i="0" u="none" strike="noStrike" kern="1200" dirty="0">
                <a:solidFill>
                  <a:schemeClr val="tx1"/>
                </a:solidFill>
                <a:effectLst/>
                <a:latin typeface="Segoe UI Light" pitchFamily="34" charset="0"/>
                <a:ea typeface="+mn-ea"/>
                <a:cs typeface="+mn-cs"/>
              </a:rPr>
              <a:t>Click Save</a:t>
            </a:r>
          </a:p>
          <a:p>
            <a:pPr marL="0" indent="0">
              <a:buFont typeface="Arial" panose="020B0604020202020204" pitchFamily="34" charset="0"/>
              <a:buNone/>
            </a:pPr>
            <a:endParaRPr lang="en-US" sz="800" b="0" i="0" u="none" strike="noStrike"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800" b="1" i="0" u="none" strike="noStrike" kern="1200" dirty="0">
                <a:solidFill>
                  <a:schemeClr val="tx1"/>
                </a:solidFill>
                <a:effectLst/>
                <a:latin typeface="Segoe UI Light" pitchFamily="34" charset="0"/>
                <a:ea typeface="+mn-ea"/>
                <a:cs typeface="+mn-cs"/>
              </a:rPr>
              <a:t>Install the SQL Analytics solution from the gallery</a:t>
            </a:r>
          </a:p>
          <a:p>
            <a:pPr marL="0" indent="0">
              <a:buFont typeface="Arial" panose="020B0604020202020204" pitchFamily="34" charset="0"/>
              <a:buNone/>
            </a:pPr>
            <a:r>
              <a:rPr lang="en-US" sz="800" b="0" i="0" u="none" strike="noStrike" kern="1200" dirty="0">
                <a:solidFill>
                  <a:schemeClr val="tx1"/>
                </a:solidFill>
                <a:effectLst/>
                <a:latin typeface="Segoe UI Light" pitchFamily="34" charset="0"/>
                <a:ea typeface="+mn-ea"/>
                <a:cs typeface="+mn-cs"/>
              </a:rPr>
              <a:t>After you create the Log Analytics resource and your data is flowing into it, install the SQL Analytics solution. </a:t>
            </a:r>
          </a:p>
          <a:p>
            <a:pPr marL="0" indent="0">
              <a:buFont typeface="Arial" panose="020B0604020202020204" pitchFamily="34" charset="0"/>
              <a:buNone/>
            </a:pPr>
            <a:r>
              <a:rPr lang="en-US" sz="800" b="0" i="0" u="none" strike="noStrike" kern="1200" dirty="0">
                <a:solidFill>
                  <a:schemeClr val="tx1"/>
                </a:solidFill>
                <a:effectLst/>
                <a:latin typeface="Segoe UI Light" pitchFamily="34" charset="0"/>
                <a:ea typeface="+mn-ea"/>
                <a:cs typeface="+mn-cs"/>
              </a:rPr>
              <a:t>In the Azure Portal, go to the Log Analytics that you have just created.</a:t>
            </a:r>
          </a:p>
          <a:p>
            <a:pPr marL="0" indent="0">
              <a:buFont typeface="Arial" panose="020B0604020202020204" pitchFamily="34" charset="0"/>
              <a:buNone/>
            </a:pPr>
            <a:r>
              <a:rPr lang="en-US" sz="800" b="0" i="0" u="none" strike="noStrike" kern="1200" dirty="0">
                <a:solidFill>
                  <a:schemeClr val="tx1"/>
                </a:solidFill>
                <a:effectLst/>
                <a:latin typeface="Segoe UI Light" pitchFamily="34" charset="0"/>
                <a:ea typeface="+mn-ea"/>
                <a:cs typeface="+mn-cs"/>
              </a:rPr>
              <a:t>In the overview tab, click on “View Solutions”</a:t>
            </a:r>
          </a:p>
          <a:p>
            <a:pPr marL="0" indent="0">
              <a:buFont typeface="Arial" panose="020B0604020202020204" pitchFamily="34" charset="0"/>
              <a:buNone/>
            </a:pPr>
            <a:r>
              <a:rPr lang="en-US" sz="800" b="0" i="0" u="none" strike="noStrike" kern="1200" dirty="0">
                <a:solidFill>
                  <a:schemeClr val="tx1"/>
                </a:solidFill>
                <a:effectLst/>
                <a:latin typeface="Segoe UI Light" pitchFamily="34" charset="0"/>
                <a:ea typeface="+mn-ea"/>
                <a:cs typeface="+mn-cs"/>
              </a:rPr>
              <a:t>Click on the Add button and search in the Management Solutions for “Azure SQL Analytics (Preview)”</a:t>
            </a:r>
          </a:p>
          <a:p>
            <a:pPr marL="0" indent="0">
              <a:buFont typeface="Arial" panose="020B0604020202020204" pitchFamily="34" charset="0"/>
              <a:buNone/>
            </a:pPr>
            <a:r>
              <a:rPr lang="en-US" sz="800" b="0" i="0" u="none" strike="noStrike" kern="1200" dirty="0">
                <a:solidFill>
                  <a:schemeClr val="tx1"/>
                </a:solidFill>
                <a:effectLst/>
                <a:latin typeface="Segoe UI Light" pitchFamily="34" charset="0"/>
                <a:ea typeface="+mn-ea"/>
                <a:cs typeface="+mn-cs"/>
              </a:rPr>
              <a:t>Click on the solutions and click “Create”</a:t>
            </a:r>
          </a:p>
          <a:p>
            <a:pPr marL="0" indent="0">
              <a:buFont typeface="Arial" panose="020B0604020202020204" pitchFamily="34" charset="0"/>
              <a:buNone/>
            </a:pPr>
            <a:endParaRPr lang="en-US" sz="800" b="0" i="0" u="none" strike="noStrike"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800" b="0" i="0" u="none" strike="noStrike" kern="1200" dirty="0">
                <a:solidFill>
                  <a:schemeClr val="tx1"/>
                </a:solidFill>
                <a:effectLst/>
                <a:latin typeface="Segoe UI Light" pitchFamily="34" charset="0"/>
                <a:ea typeface="+mn-ea"/>
                <a:cs typeface="+mn-cs"/>
              </a:rPr>
              <a:t>Wait until the resource is created</a:t>
            </a:r>
          </a:p>
          <a:p>
            <a:pPr marL="0" indent="0">
              <a:buFont typeface="Arial" panose="020B0604020202020204" pitchFamily="34" charset="0"/>
              <a:buNone/>
            </a:pPr>
            <a:r>
              <a:rPr lang="en-US" sz="800" b="1" i="0" u="sng" strike="noStrike" kern="1200" dirty="0">
                <a:solidFill>
                  <a:schemeClr val="tx1"/>
                </a:solidFill>
                <a:effectLst/>
                <a:latin typeface="Segoe UI Light" pitchFamily="34" charset="0"/>
                <a:ea typeface="+mn-ea"/>
                <a:cs typeface="+mn-cs"/>
              </a:rPr>
              <a:t>Important:</a:t>
            </a:r>
            <a:r>
              <a:rPr lang="en-US" sz="800" b="0" i="0" u="none" strike="noStrike" kern="1200" dirty="0">
                <a:solidFill>
                  <a:schemeClr val="tx1"/>
                </a:solidFill>
                <a:effectLst/>
                <a:latin typeface="Segoe UI Light" pitchFamily="34" charset="0"/>
                <a:ea typeface="+mn-ea"/>
                <a:cs typeface="+mn-cs"/>
              </a:rPr>
              <a:t> At the time I created this demo, I got the error </a:t>
            </a:r>
            <a:r>
              <a:rPr lang="en-US" dirty="0"/>
              <a:t>--!!! </a:t>
            </a:r>
            <a:r>
              <a:rPr lang="en-US" sz="800" b="0" i="0" u="none" strike="noStrike" kern="1200" dirty="0">
                <a:solidFill>
                  <a:schemeClr val="tx1"/>
                </a:solidFill>
                <a:effectLst/>
                <a:latin typeface="Segoe UI Light" pitchFamily="34" charset="0"/>
                <a:ea typeface="+mn-ea"/>
                <a:cs typeface="+mn-cs"/>
              </a:rPr>
              <a:t>This resource is unavailable, please try again later. --!!!</a:t>
            </a:r>
            <a:r>
              <a:rPr lang="en-US" dirty="0"/>
              <a:t> After waiting a long time (hours) the resource came available… Apparently the SLA for Log analytics is 15min to 6 hours… https://azure.microsoft.com/en-in/support/legal/sla/log-analytics/v1_1/ </a:t>
            </a:r>
          </a:p>
          <a:p>
            <a:pPr marL="0" indent="0">
              <a:buFont typeface="Arial" panose="020B0604020202020204" pitchFamily="34" charset="0"/>
              <a:buNone/>
            </a:pPr>
            <a:endParaRPr lang="en-US" dirty="0"/>
          </a:p>
          <a:p>
            <a:r>
              <a:rPr lang="en-US" sz="800" b="1" i="0" u="none" strike="noStrike" kern="1200" dirty="0">
                <a:solidFill>
                  <a:schemeClr val="tx1"/>
                </a:solidFill>
                <a:effectLst/>
                <a:latin typeface="Segoe UI Light" pitchFamily="34" charset="0"/>
                <a:ea typeface="+mn-ea"/>
                <a:cs typeface="+mn-cs"/>
              </a:rPr>
              <a:t>Viewing Azure SQL Analytics data</a:t>
            </a:r>
          </a:p>
          <a:p>
            <a:r>
              <a:rPr lang="en-US" sz="800" b="0" i="0" u="none" strike="noStrike" kern="1200" dirty="0">
                <a:solidFill>
                  <a:schemeClr val="tx1"/>
                </a:solidFill>
                <a:effectLst/>
                <a:latin typeface="Segoe UI Light" pitchFamily="34" charset="0"/>
                <a:ea typeface="+mn-ea"/>
                <a:cs typeface="+mn-cs"/>
              </a:rPr>
              <a:t>Click on the </a:t>
            </a:r>
            <a:r>
              <a:rPr lang="en-US" sz="800" b="1" i="0" u="none" strike="noStrike" kern="1200" dirty="0">
                <a:solidFill>
                  <a:schemeClr val="tx1"/>
                </a:solidFill>
                <a:effectLst/>
                <a:latin typeface="Segoe UI Light" pitchFamily="34" charset="0"/>
                <a:ea typeface="+mn-ea"/>
                <a:cs typeface="+mn-cs"/>
              </a:rPr>
              <a:t>Azure SQL Analytics</a:t>
            </a:r>
            <a:r>
              <a:rPr lang="en-US" sz="800" b="0" i="0" u="none" strike="noStrike" kern="1200" dirty="0">
                <a:solidFill>
                  <a:schemeClr val="tx1"/>
                </a:solidFill>
                <a:effectLst/>
                <a:latin typeface="Segoe UI Light" pitchFamily="34" charset="0"/>
                <a:ea typeface="+mn-ea"/>
                <a:cs typeface="+mn-cs"/>
              </a:rPr>
              <a:t> tile to open the Azure SQL Analytics dashboard. The dashboard includes the overview of all databases that are monitored through different perspectives. For different perspectives to work, you must enable proper metrics or logs on your SQL resources to be streamed to Azure Log Analytics workspace.</a:t>
            </a:r>
          </a:p>
          <a:p>
            <a:pPr marL="0" indent="0">
              <a:buFont typeface="Arial" panose="020B0604020202020204" pitchFamily="34" charset="0"/>
              <a:buNone/>
            </a:pPr>
            <a:r>
              <a:rPr lang="en-US" sz="800" b="0" i="0" u="none" strike="noStrike" kern="1200" dirty="0">
                <a:solidFill>
                  <a:schemeClr val="tx1"/>
                </a:solidFill>
                <a:effectLst/>
                <a:latin typeface="Segoe UI Light" pitchFamily="34" charset="0"/>
                <a:ea typeface="+mn-ea"/>
                <a:cs typeface="+mn-cs"/>
              </a:rPr>
              <a:t>Selecting any of the tiles, opens a drill-down report into the specific perspective. Once the perspective is selected, the drill-down report is opened.</a:t>
            </a:r>
          </a:p>
          <a:p>
            <a:pPr marL="0" indent="0">
              <a:buFont typeface="Arial" panose="020B0604020202020204" pitchFamily="34" charset="0"/>
              <a:buNone/>
            </a:pPr>
            <a:endParaRPr lang="en-US" sz="800" b="0" i="0" u="none" strike="noStrike"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800" b="1" i="0" u="sng" strike="noStrike" kern="1200" dirty="0">
                <a:solidFill>
                  <a:schemeClr val="tx1"/>
                </a:solidFill>
                <a:effectLst/>
                <a:latin typeface="Segoe UI Light" pitchFamily="34" charset="0"/>
                <a:ea typeface="+mn-ea"/>
                <a:cs typeface="+mn-cs"/>
              </a:rPr>
              <a:t>REMARK: Be aware that you will not be able to show much of the SQL Analytics data since there are no queries or issues on you database.</a:t>
            </a:r>
            <a:endParaRPr lang="en-US" b="1" u="sng"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573047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4476743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cs typeface="Segoe UI Light"/>
              </a:rPr>
              <a:t>Question 1: </a:t>
            </a:r>
            <a:r>
              <a:rPr lang="en-US" dirty="0">
                <a:cs typeface="Segoe UI Light"/>
              </a:rPr>
              <a:t>List three Azure resources that can be used to stream the Diagnostic Logs?</a:t>
            </a:r>
          </a:p>
          <a:p>
            <a:r>
              <a:rPr lang="en-AU" dirty="0">
                <a:solidFill>
                  <a:srgbClr val="000000"/>
                </a:solidFill>
                <a:latin typeface="Segoe UI Light"/>
                <a:cs typeface="Segoe UI Light"/>
              </a:rPr>
              <a:t>Answer 1: 	</a:t>
            </a:r>
            <a:r>
              <a:rPr lang="en-US" dirty="0">
                <a:solidFill>
                  <a:srgbClr val="000000"/>
                </a:solidFill>
                <a:latin typeface="Segoe UI Light"/>
                <a:cs typeface="Segoe UI Light"/>
              </a:rPr>
              <a:t>Azure Storage: Used for archiving vast amounts of telemetry for a small price.</a:t>
            </a:r>
          </a:p>
          <a:p>
            <a:r>
              <a:rPr lang="en-US" dirty="0">
                <a:solidFill>
                  <a:srgbClr val="000000"/>
                </a:solidFill>
                <a:latin typeface="Segoe UI Light"/>
                <a:cs typeface="Segoe UI Light"/>
              </a:rPr>
              <a:t>	Azure Event Hubs: Used for integrating SQL Database telemetry with your custom monitoring solution or hot pipelines.</a:t>
            </a:r>
          </a:p>
          <a:p>
            <a:r>
              <a:rPr lang="en-US" dirty="0">
                <a:solidFill>
                  <a:srgbClr val="000000"/>
                </a:solidFill>
                <a:latin typeface="Segoe UI Light"/>
                <a:cs typeface="Segoe UI Light"/>
              </a:rPr>
              <a:t>	Azure Log Analytics: Used for an out-of-the-box monitoring solution with reporting, alerting, and mitigating capabilities. This is a feature of the Operations                 Management Suite (OMS)</a:t>
            </a:r>
            <a:endParaRPr lang="en-AU" dirty="0">
              <a:solidFill>
                <a:srgbClr val="000000"/>
              </a:solidFill>
              <a:latin typeface="Segoe UI Light"/>
              <a:cs typeface="Segoe UI Light"/>
            </a:endParaRPr>
          </a:p>
          <a:p>
            <a:endParaRPr lang="en-US" dirty="0">
              <a:solidFill>
                <a:srgbClr val="000000"/>
              </a:solidFill>
              <a:latin typeface="Segoe UI Light"/>
              <a:cs typeface="Segoe UI Light"/>
            </a:endParaRPr>
          </a:p>
          <a:p>
            <a:r>
              <a:rPr lang="en-AU" dirty="0">
                <a:solidFill>
                  <a:srgbClr val="000000"/>
                </a:solidFill>
                <a:latin typeface="Segoe UI Light"/>
                <a:cs typeface="Segoe UI Light"/>
              </a:rPr>
              <a:t>Question 2: </a:t>
            </a:r>
            <a:r>
              <a:rPr lang="en-US" dirty="0">
                <a:solidFill>
                  <a:srgbClr val="000000"/>
                </a:solidFill>
                <a:latin typeface="Segoe UI Light"/>
                <a:cs typeface="Segoe UI Light"/>
              </a:rPr>
              <a:t>What are the three possible states of a performance issue that is logged?</a:t>
            </a:r>
          </a:p>
          <a:p>
            <a:r>
              <a:rPr lang="en-AU" dirty="0">
                <a:solidFill>
                  <a:srgbClr val="000000"/>
                </a:solidFill>
                <a:latin typeface="Segoe UI Light"/>
                <a:cs typeface="Segoe UI Light"/>
              </a:rPr>
              <a:t>Answer 2: P</a:t>
            </a:r>
            <a:r>
              <a:rPr lang="en-US" dirty="0" err="1">
                <a:solidFill>
                  <a:srgbClr val="000000"/>
                </a:solidFill>
                <a:latin typeface="Segoe UI Light"/>
                <a:cs typeface="Segoe UI Light"/>
              </a:rPr>
              <a:t>erformance</a:t>
            </a:r>
            <a:r>
              <a:rPr lang="en-US" dirty="0">
                <a:solidFill>
                  <a:srgbClr val="000000"/>
                </a:solidFill>
                <a:latin typeface="Segoe UI Light"/>
                <a:cs typeface="Segoe UI Light"/>
              </a:rPr>
              <a:t> issues that are recorded in the diagnostics log are flagged with one of the three states of an issue lifecycle: "Active", "Verifying", and "Complete". After a performance issue is detected, and as long it's deemed as present by SQL Database built-in intelligence, the issue is flagged as "Active". When the issue is considered mitigated, it's verified and the issue status is changed to "Verifying". After SQL Database built-in intelligence considers the issue resolved, the issue status is flagged as "Complete".</a:t>
            </a:r>
            <a:endParaRPr lang="en-AU" dirty="0">
              <a:solidFill>
                <a:srgbClr val="000000"/>
              </a:solidFill>
              <a:latin typeface="Segoe UI Light"/>
              <a:cs typeface="Segoe UI Light"/>
            </a:endParaRPr>
          </a:p>
          <a:p>
            <a:endParaRPr lang="en-AU" dirty="0">
              <a:solidFill>
                <a:srgbClr val="000000"/>
              </a:solidFill>
              <a:latin typeface="Segoe UI Light"/>
              <a:cs typeface="Segoe UI Ligh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AU" dirty="0">
                <a:solidFill>
                  <a:srgbClr val="000000"/>
                </a:solidFill>
                <a:latin typeface="Segoe UI Light"/>
                <a:cs typeface="Segoe UI Light"/>
              </a:rPr>
              <a:t>Question 3: </a:t>
            </a:r>
            <a:r>
              <a:rPr lang="en-US" sz="900" dirty="0">
                <a:solidFill>
                  <a:srgbClr val="FFFFFF"/>
                </a:solidFill>
              </a:rPr>
              <a:t>What are the metrics that are used for detection models?</a:t>
            </a:r>
          </a:p>
          <a:p>
            <a:pPr marL="0" marR="0" lvl="0" indent="0" algn="l" defTabSz="932742" rtl="0" eaLnBrk="1" fontAlgn="auto" latinLnBrk="0" hangingPunct="1">
              <a:lnSpc>
                <a:spcPct val="90000"/>
              </a:lnSpc>
              <a:spcBef>
                <a:spcPts val="0"/>
              </a:spcBef>
              <a:spcAft>
                <a:spcPts val="340"/>
              </a:spcAft>
              <a:buClrTx/>
              <a:buSzTx/>
              <a:buFontTx/>
              <a:buNone/>
              <a:tabLst/>
              <a:defRPr/>
            </a:pPr>
            <a:r>
              <a:rPr lang="en-AU" dirty="0">
                <a:solidFill>
                  <a:srgbClr val="000000"/>
                </a:solidFill>
                <a:latin typeface="Segoe UI Light"/>
                <a:cs typeface="Segoe UI Light"/>
              </a:rPr>
              <a:t>Answer 3: </a:t>
            </a:r>
            <a:r>
              <a:rPr lang="en-US" b="0" dirty="0">
                <a:solidFill>
                  <a:srgbClr val="000000"/>
                </a:solidFill>
                <a:latin typeface="Segoe UI Light"/>
                <a:cs typeface="Segoe UI Light"/>
              </a:rPr>
              <a:t>Metrics used for detection models that generate Intelligent Insights are based on monitoring:</a:t>
            </a:r>
          </a:p>
          <a:p>
            <a:pPr marL="627496" marR="0" lvl="4" indent="0" algn="l" defTabSz="932742" rtl="0" eaLnBrk="1" fontAlgn="auto" latinLnBrk="0" hangingPunct="1">
              <a:lnSpc>
                <a:spcPct val="90000"/>
              </a:lnSpc>
              <a:spcBef>
                <a:spcPts val="0"/>
              </a:spcBef>
              <a:spcAft>
                <a:spcPts val="340"/>
              </a:spcAft>
              <a:buClrTx/>
              <a:buSzTx/>
              <a:buFontTx/>
              <a:buNone/>
              <a:tabLst/>
              <a:defRPr/>
            </a:pPr>
            <a:r>
              <a:rPr lang="en-US" b="0" dirty="0">
                <a:solidFill>
                  <a:srgbClr val="000000"/>
                </a:solidFill>
                <a:latin typeface="Segoe UI Light"/>
                <a:cs typeface="Segoe UI Light"/>
              </a:rPr>
              <a:t>Query duration</a:t>
            </a:r>
          </a:p>
          <a:p>
            <a:pPr marL="627496" marR="0" lvl="4" indent="0" algn="l" defTabSz="932742" rtl="0" eaLnBrk="1" fontAlgn="auto" latinLnBrk="0" hangingPunct="1">
              <a:lnSpc>
                <a:spcPct val="90000"/>
              </a:lnSpc>
              <a:spcBef>
                <a:spcPts val="0"/>
              </a:spcBef>
              <a:spcAft>
                <a:spcPts val="340"/>
              </a:spcAft>
              <a:buClrTx/>
              <a:buSzTx/>
              <a:buFontTx/>
              <a:buNone/>
              <a:tabLst/>
              <a:defRPr/>
            </a:pPr>
            <a:r>
              <a:rPr lang="en-US" b="0" dirty="0">
                <a:solidFill>
                  <a:srgbClr val="000000"/>
                </a:solidFill>
                <a:latin typeface="Segoe UI Light"/>
                <a:cs typeface="Segoe UI Light"/>
              </a:rPr>
              <a:t>Timeout requests</a:t>
            </a:r>
          </a:p>
          <a:p>
            <a:pPr marL="627496" marR="0" lvl="4" indent="0" algn="l" defTabSz="932742" rtl="0" eaLnBrk="1" fontAlgn="auto" latinLnBrk="0" hangingPunct="1">
              <a:lnSpc>
                <a:spcPct val="90000"/>
              </a:lnSpc>
              <a:spcBef>
                <a:spcPts val="0"/>
              </a:spcBef>
              <a:spcAft>
                <a:spcPts val="340"/>
              </a:spcAft>
              <a:buClrTx/>
              <a:buSzTx/>
              <a:buFontTx/>
              <a:buNone/>
              <a:tabLst/>
              <a:defRPr/>
            </a:pPr>
            <a:r>
              <a:rPr lang="en-US" b="0" dirty="0">
                <a:solidFill>
                  <a:srgbClr val="000000"/>
                </a:solidFill>
                <a:latin typeface="Segoe UI Light"/>
                <a:cs typeface="Segoe UI Light"/>
              </a:rPr>
              <a:t>Excessive wait time</a:t>
            </a:r>
          </a:p>
          <a:p>
            <a:pPr marL="627496" marR="0" lvl="4" indent="0" algn="l" defTabSz="932742" rtl="0" eaLnBrk="1" fontAlgn="auto" latinLnBrk="0" hangingPunct="1">
              <a:lnSpc>
                <a:spcPct val="90000"/>
              </a:lnSpc>
              <a:spcBef>
                <a:spcPts val="0"/>
              </a:spcBef>
              <a:spcAft>
                <a:spcPts val="340"/>
              </a:spcAft>
              <a:buClrTx/>
              <a:buSzTx/>
              <a:buFontTx/>
              <a:buNone/>
              <a:tabLst/>
              <a:defRPr/>
            </a:pPr>
            <a:r>
              <a:rPr lang="en-US" b="0" dirty="0">
                <a:solidFill>
                  <a:srgbClr val="000000"/>
                </a:solidFill>
                <a:latin typeface="Segoe UI Light"/>
                <a:cs typeface="Segoe UI Light"/>
              </a:rPr>
              <a:t>Errored out requests</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a:p>
        </p:txBody>
      </p:sp>
    </p:spTree>
    <p:extLst>
      <p:ext uri="{BB962C8B-B14F-4D97-AF65-F5344CB8AC3E}">
        <p14:creationId xmlns:p14="http://schemas.microsoft.com/office/powerpoint/2010/main" val="12088219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781957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Restrictions</a:t>
            </a:r>
          </a:p>
          <a:p>
            <a:r>
              <a:rPr lang="en-US" dirty="0"/>
              <a:t>There are a couple of security-related differences befitting the cloud environment of SQL Database:+ </a:t>
            </a:r>
          </a:p>
          <a:p>
            <a:r>
              <a:rPr lang="en-US" dirty="0"/>
              <a:t>Extended events are founded on the single-tenant isolation model. An event session in one database cannot access data or events from another database.</a:t>
            </a:r>
          </a:p>
          <a:p>
            <a:r>
              <a:rPr lang="en-US" dirty="0"/>
              <a:t>You cannot issue a </a:t>
            </a:r>
            <a:r>
              <a:rPr lang="en-US" b="1" dirty="0"/>
              <a:t>CREATE EVENT SESSION</a:t>
            </a:r>
            <a:r>
              <a:rPr lang="en-US" dirty="0"/>
              <a:t> statement in the context of the </a:t>
            </a:r>
            <a:r>
              <a:rPr lang="en-US" b="1" dirty="0"/>
              <a:t>master</a:t>
            </a:r>
            <a:r>
              <a:rPr lang="en-US" dirty="0"/>
              <a:t> database.</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3</a:t>
            </a:fld>
            <a:endParaRPr lang="en-US" noProof="0"/>
          </a:p>
        </p:txBody>
      </p:sp>
    </p:spTree>
    <p:extLst>
      <p:ext uri="{BB962C8B-B14F-4D97-AF65-F5344CB8AC3E}">
        <p14:creationId xmlns:p14="http://schemas.microsoft.com/office/powerpoint/2010/main" val="37177485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docs.microsoft.com/en-us/azure/sql-database/sql-database-xevent-db-diff-from-svr</a:t>
            </a:r>
          </a:p>
          <a:p>
            <a:r>
              <a:rPr lang="en-US" dirty="0">
                <a:cs typeface="Segoe UI Light"/>
              </a:rPr>
              <a:t>Targets: </a:t>
            </a:r>
            <a:r>
              <a:rPr lang="en-US" dirty="0">
                <a:cs typeface="Segoe UI Light"/>
                <a:hlinkClick r:id="rId4"/>
              </a:rPr>
              <a:t>Ring Buffer target</a:t>
            </a:r>
            <a:r>
              <a:rPr lang="en-US" dirty="0">
                <a:cs typeface="Segoe UI Light"/>
              </a:rPr>
              <a:t> - Briefly holds event data in memory.</a:t>
            </a:r>
          </a:p>
          <a:p>
            <a:pPr marL="171450" indent="-171450">
              <a:buFont typeface="Arial" panose="020B0604020202020204" pitchFamily="34" charset="0"/>
              <a:buChar char="•"/>
            </a:pPr>
            <a:r>
              <a:rPr lang="en-US" dirty="0">
                <a:cs typeface="Segoe UI Light"/>
                <a:hlinkClick r:id="rId5"/>
              </a:rPr>
              <a:t>Event Counter target</a:t>
            </a:r>
            <a:r>
              <a:rPr lang="en-US" dirty="0">
                <a:cs typeface="Segoe UI Light"/>
              </a:rPr>
              <a:t> - Counts all events that occur during an extended events session.</a:t>
            </a:r>
          </a:p>
          <a:p>
            <a:pPr marL="171450" indent="-171450">
              <a:buFont typeface="Arial" panose="020B0604020202020204" pitchFamily="34" charset="0"/>
              <a:buChar char="•"/>
            </a:pPr>
            <a:r>
              <a:rPr lang="en-US" dirty="0">
                <a:cs typeface="Segoe UI Light"/>
                <a:hlinkClick r:id="rId6"/>
              </a:rPr>
              <a:t>Event File target</a:t>
            </a:r>
            <a:r>
              <a:rPr lang="en-US" dirty="0">
                <a:cs typeface="Segoe UI Light"/>
              </a:rPr>
              <a:t> - Writes complete buffers to an Azure Storage container.</a:t>
            </a:r>
          </a:p>
          <a:p>
            <a:endParaRPr lang="en-US" dirty="0">
              <a:cs typeface="Segoe UI Light"/>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4</a:t>
            </a:fld>
            <a:endParaRPr lang="en-US" noProof="0"/>
          </a:p>
        </p:txBody>
      </p:sp>
    </p:spTree>
    <p:extLst>
      <p:ext uri="{BB962C8B-B14F-4D97-AF65-F5344CB8AC3E}">
        <p14:creationId xmlns:p14="http://schemas.microsoft.com/office/powerpoint/2010/main" val="3709738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38552942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80000"/>
              </a:lnSpc>
              <a:buNone/>
            </a:pPr>
            <a:r>
              <a:rPr lang="en-US" sz="800" dirty="0">
                <a:solidFill>
                  <a:schemeClr val="bg1"/>
                </a:solidFill>
              </a:rPr>
              <a:t>Avoid expensive </a:t>
            </a:r>
          </a:p>
          <a:p>
            <a:pPr>
              <a:lnSpc>
                <a:spcPct val="80000"/>
              </a:lnSpc>
            </a:pPr>
            <a:r>
              <a:rPr lang="en-US" sz="800" dirty="0">
                <a:solidFill>
                  <a:schemeClr val="bg1"/>
                </a:solidFill>
              </a:rPr>
              <a:t>Events e.g. </a:t>
            </a:r>
            <a:r>
              <a:rPr lang="en-US" sz="800" dirty="0" err="1">
                <a:solidFill>
                  <a:schemeClr val="bg1"/>
                </a:solidFill>
              </a:rPr>
              <a:t>showplan</a:t>
            </a:r>
            <a:r>
              <a:rPr lang="en-US" sz="800" dirty="0">
                <a:solidFill>
                  <a:schemeClr val="bg1"/>
                </a:solidFill>
              </a:rPr>
              <a:t> </a:t>
            </a:r>
          </a:p>
          <a:p>
            <a:pPr>
              <a:lnSpc>
                <a:spcPct val="80000"/>
              </a:lnSpc>
            </a:pPr>
            <a:r>
              <a:rPr lang="en-US" sz="800" dirty="0">
                <a:solidFill>
                  <a:schemeClr val="bg1"/>
                </a:solidFill>
              </a:rPr>
              <a:t>Actions e.g. </a:t>
            </a:r>
            <a:r>
              <a:rPr lang="en-US" sz="800" dirty="0" err="1">
                <a:solidFill>
                  <a:schemeClr val="bg1"/>
                </a:solidFill>
              </a:rPr>
              <a:t>callstack</a:t>
            </a:r>
            <a:r>
              <a:rPr lang="en-US" sz="800" dirty="0">
                <a:solidFill>
                  <a:schemeClr val="bg1"/>
                </a:solidFill>
              </a:rPr>
              <a:t> </a:t>
            </a:r>
          </a:p>
          <a:p>
            <a:pPr>
              <a:lnSpc>
                <a:spcPct val="80000"/>
              </a:lnSpc>
            </a:pPr>
            <a:r>
              <a:rPr lang="en-US" sz="800" dirty="0">
                <a:solidFill>
                  <a:schemeClr val="bg1"/>
                </a:solidFill>
              </a:rPr>
              <a:t>Filters on text column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5</a:t>
            </a:fld>
            <a:endParaRPr lang="en-US" noProof="0"/>
          </a:p>
        </p:txBody>
      </p:sp>
    </p:spTree>
    <p:extLst>
      <p:ext uri="{BB962C8B-B14F-4D97-AF65-F5344CB8AC3E}">
        <p14:creationId xmlns:p14="http://schemas.microsoft.com/office/powerpoint/2010/main" val="9637893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dirty="0">
                <a:solidFill>
                  <a:schemeClr val="tx1"/>
                </a:solidFill>
                <a:effectLst/>
                <a:latin typeface="Segoe UI Light" pitchFamily="34" charset="0"/>
                <a:ea typeface="+mn-ea"/>
                <a:cs typeface="+mn-cs"/>
              </a:rPr>
              <a:t>Before you can create an extended event you have to make sure that database master key exists. To create a master key execute the following statement. Make sure that you provide a difficult password.</a:t>
            </a:r>
            <a:endParaRPr lang="nl-BE"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CREATE MASTER KEY ENCRYPTION BY PASSWORD = '&lt;</a:t>
            </a:r>
            <a:r>
              <a:rPr lang="en-US" sz="800" kern="1200" dirty="0" err="1">
                <a:solidFill>
                  <a:schemeClr val="tx1"/>
                </a:solidFill>
                <a:effectLst/>
                <a:latin typeface="Segoe UI Light" pitchFamily="34" charset="0"/>
                <a:ea typeface="+mn-ea"/>
                <a:cs typeface="+mn-cs"/>
              </a:rPr>
              <a:t>DifficultPassword</a:t>
            </a:r>
            <a:r>
              <a:rPr lang="en-US" sz="800" kern="1200" dirty="0">
                <a:solidFill>
                  <a:schemeClr val="tx1"/>
                </a:solidFill>
                <a:effectLst/>
                <a:latin typeface="Segoe UI Light" pitchFamily="34" charset="0"/>
                <a:ea typeface="+mn-ea"/>
                <a:cs typeface="+mn-cs"/>
              </a:rPr>
              <a:t>&gt;';</a:t>
            </a:r>
            <a:endParaRPr lang="nl-BE" sz="8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kern="1200" dirty="0">
                <a:solidFill>
                  <a:schemeClr val="tx1"/>
                </a:solidFill>
                <a:effectLst/>
                <a:latin typeface="Segoe UI Light" pitchFamily="34" charset="0"/>
                <a:ea typeface="+mn-ea"/>
                <a:cs typeface="+mn-cs"/>
              </a:rPr>
              <a:t>Once the container and the SAS token are created, you’ll need to create a database scoped credential in the database in order to save the events into a file.</a:t>
            </a:r>
            <a:endParaRPr lang="nl-BE"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Once the storage is setup correctly, you’ll need to configure the Extended Event. Here you’ll need to define which events you want to trace.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kern="1200" dirty="0">
                <a:solidFill>
                  <a:schemeClr val="tx1"/>
                </a:solidFill>
                <a:effectLst/>
                <a:latin typeface="Segoe UI Light" pitchFamily="34" charset="0"/>
                <a:ea typeface="+mn-ea"/>
                <a:cs typeface="+mn-cs"/>
              </a:rPr>
              <a:t>Once the trace is captured, you need to download the files to open them in the SQL Server Management Studio. The best option to download these files is with the Azure Portal or the Azure Storage Explorer.</a:t>
            </a:r>
            <a:endParaRPr lang="nl-BE" sz="800" kern="1200" dirty="0">
              <a:solidFill>
                <a:schemeClr val="tx1"/>
              </a:solidFill>
              <a:effectLst/>
              <a:latin typeface="Segoe UI Light" pitchFamily="34" charset="0"/>
              <a:ea typeface="+mn-ea"/>
              <a:cs typeface="+mn-cs"/>
            </a:endParaRPr>
          </a:p>
          <a:p>
            <a:endParaRPr lang="nl-BE"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8</a:t>
            </a:fld>
            <a:endParaRPr lang="en-US" noProof="0"/>
          </a:p>
        </p:txBody>
      </p:sp>
    </p:spTree>
    <p:extLst>
      <p:ext uri="{BB962C8B-B14F-4D97-AF65-F5344CB8AC3E}">
        <p14:creationId xmlns:p14="http://schemas.microsoft.com/office/powerpoint/2010/main" val="4904069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indent="0">
              <a:buFont typeface="Arial" panose="020B0604020202020204" pitchFamily="34" charset="0"/>
              <a:buNone/>
            </a:pPr>
            <a:r>
              <a:rPr lang="en-US" sz="1800" dirty="0">
                <a:solidFill>
                  <a:srgbClr val="000000"/>
                </a:solidFill>
                <a:latin typeface="Consolas" panose="020B0609020204030204" pitchFamily="49" charset="0"/>
              </a:rPr>
              <a:t>M05L05Demo01</a:t>
            </a: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Demo Requirement</a:t>
            </a:r>
          </a:p>
          <a:p>
            <a:pPr marL="171450" indent="-171450">
              <a:buFontTx/>
              <a:buChar char="-"/>
            </a:pPr>
            <a:r>
              <a:rPr lang="en-US" b="0" dirty="0"/>
              <a:t>The database that you have created in module 1</a:t>
            </a:r>
          </a:p>
          <a:p>
            <a:pPr marL="171450" indent="-171450">
              <a:buFontTx/>
              <a:buChar char="-"/>
            </a:pPr>
            <a:r>
              <a:rPr lang="en-US" b="0" dirty="0"/>
              <a:t>SSMS</a:t>
            </a:r>
          </a:p>
          <a:p>
            <a:pPr marL="171450" indent="-171450">
              <a:buFontTx/>
              <a:buChar char="-"/>
            </a:pPr>
            <a:r>
              <a:rPr lang="en-US" b="0" dirty="0"/>
              <a:t>Use the </a:t>
            </a:r>
            <a:r>
              <a:rPr lang="en-US" b="1" dirty="0"/>
              <a:t>C:\Demos\M05L05Demo0\</a:t>
            </a:r>
            <a:r>
              <a:rPr lang="en-US" b="1" u="none" dirty="0"/>
              <a:t>Create Storage Account.ps1</a:t>
            </a:r>
            <a:r>
              <a:rPr lang="en-US" b="0" dirty="0"/>
              <a:t> PowerShell script to create a new storage account, container and SAS Token. </a:t>
            </a:r>
          </a:p>
          <a:p>
            <a:pPr marL="0" indent="0">
              <a:buFontTx/>
              <a:buNone/>
            </a:pPr>
            <a:r>
              <a:rPr lang="en-US" b="0" dirty="0"/>
              <a:t>    </a:t>
            </a:r>
            <a:r>
              <a:rPr lang="en-US" b="1" dirty="0"/>
              <a:t>Run the script before the demo and  Make sure you save the SAS token because you need it to create the database credential.</a:t>
            </a:r>
          </a:p>
          <a:p>
            <a:pPr marL="171450" indent="-171450">
              <a:buFontTx/>
              <a:buChar char="-"/>
            </a:pPr>
            <a:r>
              <a:rPr lang="en-US" b="0" dirty="0"/>
              <a:t>Use the </a:t>
            </a:r>
            <a:r>
              <a:rPr lang="en-US" b="1" dirty="0"/>
              <a:t>C:\Demos\M05L05Demo0\Xevents.sql</a:t>
            </a:r>
            <a:r>
              <a:rPr lang="en-US" b="0" dirty="0"/>
              <a:t> SQL Script .  </a:t>
            </a:r>
          </a:p>
          <a:p>
            <a:pPr marL="0" indent="0">
              <a:buFontTx/>
              <a:buNone/>
            </a:pPr>
            <a:endParaRPr lang="en-US" b="0" dirty="0"/>
          </a:p>
          <a:p>
            <a:pPr marL="0" indent="0">
              <a:buFontTx/>
              <a:buNone/>
            </a:pPr>
            <a:r>
              <a:rPr lang="en-US" b="1" dirty="0"/>
              <a:t>Steps – follow the steps in the </a:t>
            </a:r>
            <a:r>
              <a:rPr lang="en-US" b="1" dirty="0" err="1"/>
              <a:t>xevents.sql</a:t>
            </a:r>
            <a:r>
              <a:rPr lang="en-US" b="1" dirty="0"/>
              <a:t> script</a:t>
            </a:r>
            <a:endParaRPr lang="en-US" b="0" dirty="0"/>
          </a:p>
          <a:p>
            <a:pPr marL="228600" indent="-228600">
              <a:buFontTx/>
              <a:buAutoNum type="arabicPeriod"/>
            </a:pPr>
            <a:r>
              <a:rPr lang="en-US" b="0" dirty="0"/>
              <a:t>Create MASTER KEY, use step 1 of the </a:t>
            </a:r>
            <a:r>
              <a:rPr lang="en-US" b="0" dirty="0" err="1"/>
              <a:t>Xevents.SQL</a:t>
            </a:r>
            <a:r>
              <a:rPr lang="en-US" b="0" dirty="0"/>
              <a:t> script</a:t>
            </a:r>
          </a:p>
          <a:p>
            <a:pPr marL="228600" indent="-228600">
              <a:buFontTx/>
              <a:buAutoNum type="arabicPeriod"/>
            </a:pPr>
            <a:r>
              <a:rPr lang="en-US" b="0" dirty="0"/>
              <a:t>Create database scoped credential</a:t>
            </a:r>
          </a:p>
          <a:p>
            <a:pPr marL="228600" indent="-228600">
              <a:buFontTx/>
              <a:buAutoNum type="arabicPeriod"/>
            </a:pPr>
            <a:r>
              <a:rPr lang="en-US" b="0" dirty="0"/>
              <a:t>Create event session</a:t>
            </a:r>
          </a:p>
          <a:p>
            <a:pPr marL="228600" indent="-228600">
              <a:buFontTx/>
              <a:buAutoNum type="arabicPeriod"/>
            </a:pPr>
            <a:r>
              <a:rPr lang="en-US" b="0" dirty="0"/>
              <a:t>Start the event session</a:t>
            </a:r>
          </a:p>
          <a:p>
            <a:pPr marL="228600" indent="-228600">
              <a:buFontTx/>
              <a:buAutoNum type="arabicPeriod"/>
            </a:pPr>
            <a:r>
              <a:rPr lang="en-US" b="0" dirty="0"/>
              <a:t>Simulate a query</a:t>
            </a:r>
          </a:p>
          <a:p>
            <a:pPr marL="228600" indent="-228600">
              <a:buFontTx/>
              <a:buAutoNum type="arabicPeriod"/>
            </a:pPr>
            <a:r>
              <a:rPr lang="en-US" b="0" dirty="0"/>
              <a:t>Stop the event session</a:t>
            </a:r>
          </a:p>
          <a:p>
            <a:pPr marL="228600" indent="-228600">
              <a:buFontTx/>
              <a:buAutoNum type="arabicPeriod"/>
            </a:pPr>
            <a:r>
              <a:rPr lang="en-US" b="0" dirty="0"/>
              <a:t>Show the results</a:t>
            </a:r>
          </a:p>
          <a:p>
            <a:pPr marL="228600" indent="-228600">
              <a:buFontTx/>
              <a:buAutoNum type="arabicPeriod"/>
            </a:pPr>
            <a:endParaRPr lang="en-US" b="0" dirty="0"/>
          </a:p>
          <a:p>
            <a:pPr marL="228600" indent="-228600">
              <a:buFontTx/>
              <a:buAutoNum type="arabicPeriod"/>
            </a:pPr>
            <a:endParaRPr lang="en-US" b="1" dirty="0"/>
          </a:p>
          <a:p>
            <a:pPr marL="171450" indent="-171450">
              <a:buFontTx/>
              <a:buChar char="-"/>
            </a:pPr>
            <a:endParaRPr lang="en-US" b="0"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573047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800" dirty="0">
                <a:solidFill>
                  <a:srgbClr val="000000"/>
                </a:solidFill>
                <a:latin typeface="Consolas" panose="020B0609020204030204" pitchFamily="49" charset="0"/>
              </a:rPr>
              <a:t>M05L05Lab01</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9167351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44767430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cs typeface="Segoe UI Light"/>
              </a:rPr>
              <a:t>Q: </a:t>
            </a:r>
            <a:r>
              <a:rPr lang="en-US" dirty="0">
                <a:cs typeface="Segoe UI Light"/>
              </a:rPr>
              <a:t>List three targets for extended events output. </a:t>
            </a:r>
          </a:p>
          <a:p>
            <a:r>
              <a:rPr lang="en-AU" dirty="0">
                <a:solidFill>
                  <a:srgbClr val="000000"/>
                </a:solidFill>
                <a:latin typeface="Segoe UI Light"/>
                <a:cs typeface="Segoe UI Light"/>
              </a:rPr>
              <a:t>A: Ring Buffer, Event counter, Event file target in Azure storage </a:t>
            </a:r>
            <a:endParaRPr lang="en-US" dirty="0">
              <a:solidFill>
                <a:srgbClr val="000000"/>
              </a:solidFill>
              <a:latin typeface="Segoe UI Light"/>
              <a:cs typeface="Segoe UI Light"/>
            </a:endParaRPr>
          </a:p>
          <a:p>
            <a:r>
              <a:rPr lang="en-AU" dirty="0">
                <a:solidFill>
                  <a:srgbClr val="000000"/>
                </a:solidFill>
                <a:latin typeface="Segoe UI Light"/>
                <a:cs typeface="Segoe UI Light"/>
              </a:rPr>
              <a:t>Q:</a:t>
            </a:r>
            <a:r>
              <a:rPr lang="en-US" dirty="0">
                <a:solidFill>
                  <a:srgbClr val="000000"/>
                </a:solidFill>
                <a:latin typeface="Segoe UI Light"/>
                <a:cs typeface="Segoe UI Light"/>
              </a:rPr>
              <a:t>List three problematic scenarios where extended events can help. </a:t>
            </a:r>
          </a:p>
          <a:p>
            <a:r>
              <a:rPr lang="en-AU" dirty="0">
                <a:solidFill>
                  <a:srgbClr val="000000"/>
                </a:solidFill>
                <a:latin typeface="Segoe UI Light"/>
                <a:cs typeface="Segoe UI Light"/>
              </a:rPr>
              <a:t>A: Slow Query Performance, Deadlocks and blocking</a:t>
            </a:r>
            <a:endParaRPr lang="en-US" dirty="0">
              <a:solidFill>
                <a:srgbClr val="000000"/>
              </a:solidFill>
              <a:latin typeface="Segoe UI Light"/>
              <a:cs typeface="Segoe UI Light"/>
            </a:endParaRP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2</a:t>
            </a:fld>
            <a:endParaRPr lang="en-US" noProof="0"/>
          </a:p>
        </p:txBody>
      </p:sp>
    </p:spTree>
    <p:extLst>
      <p:ext uri="{BB962C8B-B14F-4D97-AF65-F5344CB8AC3E}">
        <p14:creationId xmlns:p14="http://schemas.microsoft.com/office/powerpoint/2010/main" val="12088219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781957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assic alerts are deprecated but at the time of creating this slide, the metric option for Azure SQL Database was not yet available in Alerts.</a:t>
            </a:r>
          </a:p>
          <a:p>
            <a:r>
              <a:rPr lang="en-US" sz="800" kern="1200" dirty="0">
                <a:solidFill>
                  <a:schemeClr val="tx1"/>
                </a:solidFill>
                <a:effectLst/>
                <a:latin typeface="Segoe UI Light" pitchFamily="34" charset="0"/>
                <a:ea typeface="+mn-ea"/>
                <a:cs typeface="+mn-cs"/>
              </a:rPr>
              <a:t>We are working to support for SQL DB metrics with new alerts (by March 2019). You can continue using classic alerts for SQL DB until new metric alerts are supported. Please note that classic metric alerts are still fully supported until June 2019.</a:t>
            </a:r>
            <a:endParaRPr lang="nl-BE"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 </a:t>
            </a:r>
            <a:endParaRPr lang="nl-BE"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Note 1: We will allow creating one alert rule to manage multiple databases when we support alerts on </a:t>
            </a:r>
            <a:r>
              <a:rPr lang="en-US" sz="800" kern="1200" dirty="0" err="1">
                <a:solidFill>
                  <a:schemeClr val="tx1"/>
                </a:solidFill>
                <a:effectLst/>
                <a:latin typeface="Segoe UI Light" pitchFamily="34" charset="0"/>
                <a:ea typeface="+mn-ea"/>
                <a:cs typeface="+mn-cs"/>
              </a:rPr>
              <a:t>sql</a:t>
            </a:r>
            <a:r>
              <a:rPr lang="en-US" sz="800" kern="1200" dirty="0">
                <a:solidFill>
                  <a:schemeClr val="tx1"/>
                </a:solidFill>
                <a:effectLst/>
                <a:latin typeface="Segoe UI Light" pitchFamily="34" charset="0"/>
                <a:ea typeface="+mn-ea"/>
                <a:cs typeface="+mn-cs"/>
              </a:rPr>
              <a:t>.</a:t>
            </a:r>
            <a:endParaRPr lang="nl-BE"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Note 2: We plan to migrate existing SQL DB alerts to the new Monitor system automatically on customers behalf.</a:t>
            </a:r>
            <a:endParaRPr lang="nl-BE" sz="800" kern="1200" dirty="0">
              <a:solidFill>
                <a:schemeClr val="tx1"/>
              </a:solidFill>
              <a:effectLst/>
              <a:latin typeface="Segoe UI Light" pitchFamily="34" charset="0"/>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5</a:t>
            </a:fld>
            <a:endParaRPr lang="en-US" noProof="0"/>
          </a:p>
        </p:txBody>
      </p:sp>
    </p:spTree>
    <p:extLst>
      <p:ext uri="{BB962C8B-B14F-4D97-AF65-F5344CB8AC3E}">
        <p14:creationId xmlns:p14="http://schemas.microsoft.com/office/powerpoint/2010/main" val="3158162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assic alerts are deprecated but at the time of creating this slide, the metric option for Azure SQL Database was not yet available in Alerts.</a:t>
            </a:r>
          </a:p>
          <a:p>
            <a:r>
              <a:rPr lang="en-US" sz="800" kern="1200" dirty="0">
                <a:solidFill>
                  <a:schemeClr val="tx1"/>
                </a:solidFill>
                <a:effectLst/>
                <a:latin typeface="Segoe UI Light" pitchFamily="34" charset="0"/>
                <a:ea typeface="+mn-ea"/>
                <a:cs typeface="+mn-cs"/>
              </a:rPr>
              <a:t>We are working to support for SQL DB metrics with new alerts (by March 2019). You can continue using classic alerts for SQL DB until new metric alerts are supported. Please note that classic metric alerts are still fully supported until June 2019.</a:t>
            </a:r>
            <a:endParaRPr lang="nl-BE"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 </a:t>
            </a:r>
            <a:endParaRPr lang="nl-BE"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Note 1: We will allow creating one alert rule to manage multiple databases when we support alerts on </a:t>
            </a:r>
            <a:r>
              <a:rPr lang="en-US" sz="800" kern="1200" dirty="0" err="1">
                <a:solidFill>
                  <a:schemeClr val="tx1"/>
                </a:solidFill>
                <a:effectLst/>
                <a:latin typeface="Segoe UI Light" pitchFamily="34" charset="0"/>
                <a:ea typeface="+mn-ea"/>
                <a:cs typeface="+mn-cs"/>
              </a:rPr>
              <a:t>sql</a:t>
            </a:r>
            <a:r>
              <a:rPr lang="en-US" sz="800" kern="1200" dirty="0">
                <a:solidFill>
                  <a:schemeClr val="tx1"/>
                </a:solidFill>
                <a:effectLst/>
                <a:latin typeface="Segoe UI Light" pitchFamily="34" charset="0"/>
                <a:ea typeface="+mn-ea"/>
                <a:cs typeface="+mn-cs"/>
              </a:rPr>
              <a:t>.</a:t>
            </a:r>
            <a:endParaRPr lang="nl-BE"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Note 2: We plan to migrate existing SQL DB alerts to the new Monitor system automatically on customers behalf.</a:t>
            </a:r>
            <a:endParaRPr lang="nl-BE" sz="800" kern="1200" dirty="0">
              <a:solidFill>
                <a:schemeClr val="tx1"/>
              </a:solidFill>
              <a:effectLst/>
              <a:latin typeface="Segoe UI Light" pitchFamily="34" charset="0"/>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6</a:t>
            </a:fld>
            <a:endParaRPr lang="en-US" noProof="0"/>
          </a:p>
        </p:txBody>
      </p:sp>
    </p:spTree>
    <p:extLst>
      <p:ext uri="{BB962C8B-B14F-4D97-AF65-F5344CB8AC3E}">
        <p14:creationId xmlns:p14="http://schemas.microsoft.com/office/powerpoint/2010/main" val="23902325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assic alerts are deprecated but at the time of creating this slide, the metric option for Azure SQL Database was not yet available in Alerts.</a:t>
            </a:r>
          </a:p>
          <a:p>
            <a:r>
              <a:rPr lang="en-US" sz="800" kern="1200" dirty="0">
                <a:solidFill>
                  <a:schemeClr val="tx1"/>
                </a:solidFill>
                <a:effectLst/>
                <a:latin typeface="Segoe UI Light" pitchFamily="34" charset="0"/>
                <a:ea typeface="+mn-ea"/>
                <a:cs typeface="+mn-cs"/>
              </a:rPr>
              <a:t>We are working to support for SQL DB metrics with new alerts (by March 2019). You can continue using classic alerts for SQL DB until new metric alerts are supported. Please note that classic metric alerts are still fully supported until June 2019.</a:t>
            </a:r>
            <a:endParaRPr lang="nl-BE"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 </a:t>
            </a:r>
            <a:endParaRPr lang="nl-BE"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Note 1: We will allow creating one alert rule to manage multiple databases when we support alerts on </a:t>
            </a:r>
            <a:r>
              <a:rPr lang="en-US" sz="800" kern="1200" dirty="0" err="1">
                <a:solidFill>
                  <a:schemeClr val="tx1"/>
                </a:solidFill>
                <a:effectLst/>
                <a:latin typeface="Segoe UI Light" pitchFamily="34" charset="0"/>
                <a:ea typeface="+mn-ea"/>
                <a:cs typeface="+mn-cs"/>
              </a:rPr>
              <a:t>sql</a:t>
            </a:r>
            <a:r>
              <a:rPr lang="en-US" sz="800" kern="1200" dirty="0">
                <a:solidFill>
                  <a:schemeClr val="tx1"/>
                </a:solidFill>
                <a:effectLst/>
                <a:latin typeface="Segoe UI Light" pitchFamily="34" charset="0"/>
                <a:ea typeface="+mn-ea"/>
                <a:cs typeface="+mn-cs"/>
              </a:rPr>
              <a:t>.</a:t>
            </a:r>
            <a:endParaRPr lang="nl-BE"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Note 2: We plan to migrate existing SQL DB alerts to the new Monitor system automatically on customers behalf.</a:t>
            </a:r>
            <a:endParaRPr lang="nl-BE" sz="800" kern="1200" dirty="0">
              <a:solidFill>
                <a:schemeClr val="tx1"/>
              </a:solidFill>
              <a:effectLst/>
              <a:latin typeface="Segoe UI Light" pitchFamily="34" charset="0"/>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7</a:t>
            </a:fld>
            <a:endParaRPr lang="en-US" noProof="0"/>
          </a:p>
        </p:txBody>
      </p:sp>
    </p:spTree>
    <p:extLst>
      <p:ext uri="{BB962C8B-B14F-4D97-AF65-F5344CB8AC3E}">
        <p14:creationId xmlns:p14="http://schemas.microsoft.com/office/powerpoint/2010/main" val="5241644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a:p>
        </p:txBody>
      </p:sp>
    </p:spTree>
    <p:extLst>
      <p:ext uri="{BB962C8B-B14F-4D97-AF65-F5344CB8AC3E}">
        <p14:creationId xmlns:p14="http://schemas.microsoft.com/office/powerpoint/2010/main" val="344222027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https://docs.microsoft.com/en-us/azure/sql-database/sql-database-insights-alerts-portal</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8</a:t>
            </a:fld>
            <a:endParaRPr lang="en-US" noProof="0"/>
          </a:p>
        </p:txBody>
      </p:sp>
    </p:spTree>
    <p:extLst>
      <p:ext uri="{BB962C8B-B14F-4D97-AF65-F5344CB8AC3E}">
        <p14:creationId xmlns:p14="http://schemas.microsoft.com/office/powerpoint/2010/main" val="321206919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indent="0">
              <a:buFont typeface="Arial" panose="020B0604020202020204" pitchFamily="34" charset="0"/>
              <a:buNone/>
            </a:pPr>
            <a:r>
              <a:rPr lang="en-US" sz="1800" dirty="0">
                <a:solidFill>
                  <a:srgbClr val="000000"/>
                </a:solidFill>
                <a:latin typeface="Consolas" panose="020B0609020204030204" pitchFamily="49" charset="0"/>
              </a:rPr>
              <a:t>M05L06Demo01</a:t>
            </a:r>
          </a:p>
          <a:p>
            <a:pPr marL="0" indent="0">
              <a:buFont typeface="Arial" panose="020B0604020202020204" pitchFamily="34" charset="0"/>
              <a:buNone/>
            </a:pPr>
            <a:endParaRPr lang="en-US" sz="800" b="1" i="0" u="none" strike="noStrike"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800" b="1" i="0" u="none" strike="noStrike" kern="1200" dirty="0">
                <a:solidFill>
                  <a:schemeClr val="tx1"/>
                </a:solidFill>
                <a:effectLst/>
                <a:latin typeface="Segoe UI Light" pitchFamily="34" charset="0"/>
                <a:ea typeface="+mn-ea"/>
                <a:cs typeface="+mn-cs"/>
              </a:rPr>
              <a:t>Demo Requirements</a:t>
            </a:r>
          </a:p>
          <a:p>
            <a:pPr marL="0" indent="0">
              <a:buFont typeface="Arial" panose="020B0604020202020204" pitchFamily="34" charset="0"/>
              <a:buNone/>
            </a:pPr>
            <a:r>
              <a:rPr lang="en-US" sz="800" b="0" i="0" u="none" strike="noStrike" kern="1200" dirty="0">
                <a:solidFill>
                  <a:schemeClr val="tx1"/>
                </a:solidFill>
                <a:effectLst/>
                <a:latin typeface="Segoe UI Light" pitchFamily="34" charset="0"/>
                <a:ea typeface="+mn-ea"/>
                <a:cs typeface="+mn-cs"/>
              </a:rPr>
              <a:t>The </a:t>
            </a:r>
            <a:r>
              <a:rPr lang="en-US" sz="800" b="0" i="0" u="none" strike="noStrike" kern="1200" dirty="0" err="1">
                <a:solidFill>
                  <a:schemeClr val="tx1"/>
                </a:solidFill>
                <a:effectLst/>
                <a:latin typeface="Segoe UI Light" pitchFamily="34" charset="0"/>
                <a:ea typeface="+mn-ea"/>
                <a:cs typeface="+mn-cs"/>
              </a:rPr>
              <a:t>salesdb</a:t>
            </a:r>
            <a:r>
              <a:rPr lang="en-US" sz="800" b="0" i="0" u="none" strike="noStrike" kern="1200" dirty="0">
                <a:solidFill>
                  <a:schemeClr val="tx1"/>
                </a:solidFill>
                <a:effectLst/>
                <a:latin typeface="Segoe UI Light" pitchFamily="34" charset="0"/>
                <a:ea typeface="+mn-ea"/>
                <a:cs typeface="+mn-cs"/>
              </a:rPr>
              <a:t> that was created in module 1</a:t>
            </a:r>
          </a:p>
          <a:p>
            <a:pPr marL="0" indent="0">
              <a:buFont typeface="Arial" panose="020B0604020202020204" pitchFamily="34" charset="0"/>
              <a:buNone/>
            </a:pPr>
            <a:endParaRPr lang="en-US" sz="800" b="0" i="0" u="none" strike="noStrike" kern="1200" dirty="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800" b="1" i="0" u="none" strike="noStrike" kern="1200" dirty="0">
              <a:solidFill>
                <a:schemeClr val="tx1"/>
              </a:solidFill>
              <a:effectLst/>
              <a:latin typeface="Segoe UI Light" pitchFamily="34" charset="0"/>
              <a:ea typeface="+mn-ea"/>
              <a:cs typeface="+mn-cs"/>
            </a:endParaRPr>
          </a:p>
          <a:p>
            <a:pPr marL="0" indent="0">
              <a:buFont typeface="Arial" panose="020B0604020202020204" pitchFamily="34" charset="0"/>
              <a:buNone/>
            </a:pPr>
            <a:r>
              <a:rPr lang="en-US" sz="800" b="1" i="0" u="none" strike="noStrike" kern="1200" dirty="0">
                <a:solidFill>
                  <a:schemeClr val="tx1"/>
                </a:solidFill>
                <a:effectLst/>
                <a:latin typeface="Segoe UI Light" pitchFamily="34" charset="0"/>
                <a:ea typeface="+mn-ea"/>
                <a:cs typeface="+mn-cs"/>
              </a:rPr>
              <a:t>Create an alert rule on a metric with the Azure portal</a:t>
            </a:r>
          </a:p>
          <a:p>
            <a:pPr marL="0" indent="0">
              <a:buFont typeface="Arial" panose="020B0604020202020204" pitchFamily="34" charset="0"/>
              <a:buNone/>
            </a:pPr>
            <a:r>
              <a:rPr lang="en-US" sz="800" b="0" i="0" u="none" strike="noStrike" kern="1200" dirty="0">
                <a:solidFill>
                  <a:schemeClr val="tx1"/>
                </a:solidFill>
                <a:effectLst/>
                <a:latin typeface="Segoe UI Light" pitchFamily="34" charset="0"/>
                <a:ea typeface="+mn-ea"/>
                <a:cs typeface="+mn-cs"/>
              </a:rPr>
              <a:t>Open the Azure Portal and go to your database</a:t>
            </a:r>
          </a:p>
          <a:p>
            <a:pPr marL="0" indent="0">
              <a:buFont typeface="Arial" panose="020B0604020202020204" pitchFamily="34" charset="0"/>
              <a:buNone/>
            </a:pPr>
            <a:r>
              <a:rPr lang="en-US" sz="800" b="0" i="0" u="none" strike="noStrike" kern="1200" dirty="0">
                <a:solidFill>
                  <a:schemeClr val="tx1"/>
                </a:solidFill>
                <a:effectLst/>
                <a:latin typeface="Segoe UI Light" pitchFamily="34" charset="0"/>
                <a:ea typeface="+mn-ea"/>
                <a:cs typeface="+mn-cs"/>
              </a:rPr>
              <a:t>Select </a:t>
            </a:r>
            <a:r>
              <a:rPr lang="en-US" sz="800" b="1" i="0" u="none" strike="noStrike" kern="1200" dirty="0">
                <a:solidFill>
                  <a:schemeClr val="tx1"/>
                </a:solidFill>
                <a:effectLst/>
                <a:latin typeface="Segoe UI Light" pitchFamily="34" charset="0"/>
                <a:ea typeface="+mn-ea"/>
                <a:cs typeface="+mn-cs"/>
              </a:rPr>
              <a:t>Alerts</a:t>
            </a:r>
            <a:r>
              <a:rPr lang="en-US" sz="800" b="0" i="0" u="none" strike="noStrike" kern="1200" dirty="0">
                <a:solidFill>
                  <a:schemeClr val="tx1"/>
                </a:solidFill>
                <a:effectLst/>
                <a:latin typeface="Segoe UI Light" pitchFamily="34" charset="0"/>
                <a:ea typeface="+mn-ea"/>
                <a:cs typeface="+mn-cs"/>
              </a:rPr>
              <a:t> or </a:t>
            </a:r>
            <a:r>
              <a:rPr lang="en-US" sz="800" b="1" i="0" u="none" strike="noStrike" kern="1200" dirty="0">
                <a:solidFill>
                  <a:schemeClr val="tx1"/>
                </a:solidFill>
                <a:effectLst/>
                <a:latin typeface="Segoe UI Light" pitchFamily="34" charset="0"/>
                <a:ea typeface="+mn-ea"/>
                <a:cs typeface="+mn-cs"/>
              </a:rPr>
              <a:t>Alert rules</a:t>
            </a:r>
            <a:r>
              <a:rPr lang="en-US" sz="800" b="0" i="0" u="none" strike="noStrike" kern="1200" dirty="0">
                <a:solidFill>
                  <a:schemeClr val="tx1"/>
                </a:solidFill>
                <a:effectLst/>
                <a:latin typeface="Segoe UI Light" pitchFamily="34" charset="0"/>
                <a:ea typeface="+mn-ea"/>
                <a:cs typeface="+mn-cs"/>
              </a:rPr>
              <a:t> under the MONITORING section. The text and icon may vary slightly for different resources. </a:t>
            </a:r>
          </a:p>
          <a:p>
            <a:pPr marL="0" indent="0">
              <a:buFont typeface="Arial" panose="020B0604020202020204" pitchFamily="34" charset="0"/>
              <a:buNone/>
            </a:pPr>
            <a:r>
              <a:rPr lang="en-US" sz="800" b="0" i="0" u="none" strike="noStrike" kern="1200" dirty="0">
                <a:solidFill>
                  <a:schemeClr val="tx1"/>
                </a:solidFill>
                <a:effectLst/>
                <a:latin typeface="Segoe UI Light" pitchFamily="34" charset="0"/>
                <a:ea typeface="+mn-ea"/>
                <a:cs typeface="+mn-cs"/>
              </a:rPr>
              <a:t>Select the </a:t>
            </a:r>
            <a:r>
              <a:rPr lang="en-US" sz="800" b="1" i="0" u="none" strike="noStrike" kern="1200" dirty="0">
                <a:solidFill>
                  <a:schemeClr val="tx1"/>
                </a:solidFill>
                <a:effectLst/>
                <a:latin typeface="Segoe UI Light" pitchFamily="34" charset="0"/>
                <a:ea typeface="+mn-ea"/>
                <a:cs typeface="+mn-cs"/>
              </a:rPr>
              <a:t>Add alert</a:t>
            </a:r>
            <a:r>
              <a:rPr lang="en-US" sz="800" b="0" i="0" u="none" strike="noStrike" kern="1200" dirty="0">
                <a:solidFill>
                  <a:schemeClr val="tx1"/>
                </a:solidFill>
                <a:effectLst/>
                <a:latin typeface="Segoe UI Light" pitchFamily="34" charset="0"/>
                <a:ea typeface="+mn-ea"/>
                <a:cs typeface="+mn-cs"/>
              </a:rPr>
              <a:t> command and fill in the fields.</a:t>
            </a:r>
          </a:p>
          <a:p>
            <a:r>
              <a:rPr lang="en-US" sz="800" b="0" i="0" u="none" strike="noStrike" kern="1200" dirty="0">
                <a:solidFill>
                  <a:schemeClr val="tx1"/>
                </a:solidFill>
                <a:effectLst/>
                <a:latin typeface="Segoe UI Light" pitchFamily="34" charset="0"/>
                <a:ea typeface="+mn-ea"/>
                <a:cs typeface="+mn-cs"/>
              </a:rPr>
              <a:t>Select </a:t>
            </a:r>
            <a:r>
              <a:rPr lang="en-US" sz="800" b="1" i="0" u="none" strike="noStrike" kern="1200" dirty="0">
                <a:solidFill>
                  <a:schemeClr val="tx1"/>
                </a:solidFill>
                <a:effectLst/>
                <a:latin typeface="Segoe UI Light" pitchFamily="34" charset="0"/>
                <a:ea typeface="+mn-ea"/>
                <a:cs typeface="+mn-cs"/>
              </a:rPr>
              <a:t>Add</a:t>
            </a:r>
            <a:r>
              <a:rPr lang="en-US" sz="800" b="0" i="0" u="none" strike="noStrike" kern="1200" dirty="0">
                <a:solidFill>
                  <a:schemeClr val="tx1"/>
                </a:solidFill>
                <a:effectLst/>
                <a:latin typeface="Segoe UI Light" pitchFamily="34" charset="0"/>
                <a:ea typeface="+mn-ea"/>
                <a:cs typeface="+mn-cs"/>
              </a:rPr>
              <a:t> under Condition and choose the </a:t>
            </a:r>
            <a:r>
              <a:rPr lang="en-US" sz="800" b="1" i="0" u="none" strike="noStrike" kern="1200" dirty="0">
                <a:solidFill>
                  <a:schemeClr val="tx1"/>
                </a:solidFill>
                <a:effectLst/>
                <a:latin typeface="Segoe UI Light" pitchFamily="34" charset="0"/>
                <a:ea typeface="+mn-ea"/>
                <a:cs typeface="+mn-cs"/>
              </a:rPr>
              <a:t>Metric</a:t>
            </a:r>
            <a:r>
              <a:rPr lang="en-US" sz="800" b="0" i="0" u="none" strike="noStrike" kern="1200" dirty="0">
                <a:solidFill>
                  <a:schemeClr val="tx1"/>
                </a:solidFill>
                <a:effectLst/>
                <a:latin typeface="Segoe UI Light" pitchFamily="34" charset="0"/>
                <a:ea typeface="+mn-ea"/>
                <a:cs typeface="+mn-cs"/>
              </a:rPr>
              <a:t> you want to monitor, then choose a </a:t>
            </a:r>
            <a:r>
              <a:rPr lang="en-US" sz="800" b="1" i="0" u="none" strike="noStrike" kern="1200" dirty="0">
                <a:solidFill>
                  <a:schemeClr val="tx1"/>
                </a:solidFill>
                <a:effectLst/>
                <a:latin typeface="Segoe UI Light" pitchFamily="34" charset="0"/>
                <a:ea typeface="+mn-ea"/>
                <a:cs typeface="+mn-cs"/>
              </a:rPr>
              <a:t>Threshold</a:t>
            </a:r>
            <a:r>
              <a:rPr lang="en-US" sz="800" b="0" i="0" u="none" strike="noStrike" kern="1200" dirty="0">
                <a:solidFill>
                  <a:schemeClr val="tx1"/>
                </a:solidFill>
                <a:effectLst/>
                <a:latin typeface="Segoe UI Light" pitchFamily="34" charset="0"/>
                <a:ea typeface="+mn-ea"/>
                <a:cs typeface="+mn-cs"/>
              </a:rPr>
              <a:t> value for the metric. Also choose the </a:t>
            </a:r>
            <a:r>
              <a:rPr lang="en-US" sz="800" b="1" i="0" u="none" strike="noStrike" kern="1200" dirty="0">
                <a:solidFill>
                  <a:schemeClr val="tx1"/>
                </a:solidFill>
                <a:effectLst/>
                <a:latin typeface="Segoe UI Light" pitchFamily="34" charset="0"/>
                <a:ea typeface="+mn-ea"/>
                <a:cs typeface="+mn-cs"/>
              </a:rPr>
              <a:t>Period</a:t>
            </a:r>
            <a:r>
              <a:rPr lang="en-US" sz="800" b="0" i="0" u="none" strike="noStrike" kern="1200" dirty="0">
                <a:solidFill>
                  <a:schemeClr val="tx1"/>
                </a:solidFill>
                <a:effectLst/>
                <a:latin typeface="Segoe UI Light" pitchFamily="34" charset="0"/>
                <a:ea typeface="+mn-ea"/>
                <a:cs typeface="+mn-cs"/>
              </a:rPr>
              <a:t> of time that the metric rule must be satisfied before the alert triggers. So for example, if you use the period "PT5M" and your alert looks for CPU above 80%, the alert triggers when the </a:t>
            </a:r>
            <a:r>
              <a:rPr lang="en-US" sz="800" b="1" i="0" u="none" strike="noStrike" kern="1200" dirty="0">
                <a:solidFill>
                  <a:schemeClr val="tx1"/>
                </a:solidFill>
                <a:effectLst/>
                <a:latin typeface="Segoe UI Light" pitchFamily="34" charset="0"/>
                <a:ea typeface="+mn-ea"/>
                <a:cs typeface="+mn-cs"/>
              </a:rPr>
              <a:t>average</a:t>
            </a:r>
            <a:r>
              <a:rPr lang="en-US" sz="800" b="0" i="0" u="none" strike="noStrike" kern="1200" dirty="0">
                <a:solidFill>
                  <a:schemeClr val="tx1"/>
                </a:solidFill>
                <a:effectLst/>
                <a:latin typeface="Segoe UI Light" pitchFamily="34" charset="0"/>
                <a:ea typeface="+mn-ea"/>
                <a:cs typeface="+mn-cs"/>
              </a:rPr>
              <a:t> CPU has been above 80% for 5 minutes. Once the first trigger occurs, it again triggers when the average CPU is below 80% over 5 minutes. The CPU measurement occurs every 1 minute. </a:t>
            </a:r>
          </a:p>
          <a:p>
            <a:r>
              <a:rPr lang="en-US" sz="800" b="0" i="0" u="none" strike="noStrike" kern="1200" dirty="0">
                <a:solidFill>
                  <a:schemeClr val="tx1"/>
                </a:solidFill>
                <a:effectLst/>
                <a:latin typeface="Segoe UI Light" pitchFamily="34" charset="0"/>
                <a:ea typeface="+mn-ea"/>
                <a:cs typeface="+mn-cs"/>
              </a:rPr>
              <a:t>Click </a:t>
            </a:r>
            <a:r>
              <a:rPr lang="en-US" sz="800" b="1" i="0" u="none" strike="noStrike" kern="1200" dirty="0">
                <a:solidFill>
                  <a:schemeClr val="tx1"/>
                </a:solidFill>
                <a:effectLst/>
                <a:latin typeface="Segoe UI Light" pitchFamily="34" charset="0"/>
                <a:ea typeface="+mn-ea"/>
                <a:cs typeface="+mn-cs"/>
              </a:rPr>
              <a:t>Done</a:t>
            </a:r>
          </a:p>
          <a:p>
            <a:endParaRPr lang="en-US" sz="800" b="1"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Click on the </a:t>
            </a:r>
            <a:r>
              <a:rPr lang="en-US" sz="800" b="1" i="0" u="none" strike="noStrike" kern="1200" dirty="0">
                <a:solidFill>
                  <a:schemeClr val="tx1"/>
                </a:solidFill>
                <a:effectLst/>
                <a:latin typeface="Segoe UI Light" pitchFamily="34" charset="0"/>
                <a:ea typeface="+mn-ea"/>
                <a:cs typeface="+mn-cs"/>
              </a:rPr>
              <a:t>Select Action Group </a:t>
            </a:r>
            <a:r>
              <a:rPr lang="en-US" sz="800" b="0" i="0" u="none" strike="noStrike" kern="1200" dirty="0">
                <a:solidFill>
                  <a:schemeClr val="tx1"/>
                </a:solidFill>
                <a:effectLst/>
                <a:latin typeface="Segoe UI Light" pitchFamily="34" charset="0"/>
                <a:ea typeface="+mn-ea"/>
                <a:cs typeface="+mn-cs"/>
              </a:rPr>
              <a:t>under the “Action Group”. Click on the </a:t>
            </a:r>
            <a:r>
              <a:rPr lang="en-US" sz="800" b="1" i="0" u="none" strike="noStrike" kern="1200" dirty="0">
                <a:solidFill>
                  <a:schemeClr val="tx1"/>
                </a:solidFill>
                <a:effectLst/>
                <a:latin typeface="Segoe UI Light" pitchFamily="34" charset="0"/>
                <a:ea typeface="+mn-ea"/>
                <a:cs typeface="+mn-cs"/>
              </a:rPr>
              <a:t>Create action group</a:t>
            </a:r>
            <a:r>
              <a:rPr lang="en-US" sz="800" b="0" i="0" u="none" strike="noStrike" kern="1200" dirty="0">
                <a:solidFill>
                  <a:schemeClr val="tx1"/>
                </a:solidFill>
                <a:effectLst/>
                <a:latin typeface="Segoe UI Light" pitchFamily="34" charset="0"/>
                <a:ea typeface="+mn-ea"/>
                <a:cs typeface="+mn-cs"/>
              </a:rPr>
              <a:t>. Enter a group name (Azure Admins) and short name (SQL Alerts) and select a </a:t>
            </a:r>
            <a:r>
              <a:rPr lang="en-US" sz="800" b="1" i="0" u="none" strike="noStrike" kern="1200" dirty="0">
                <a:solidFill>
                  <a:schemeClr val="tx1"/>
                </a:solidFill>
                <a:effectLst/>
                <a:latin typeface="Segoe UI Light" pitchFamily="34" charset="0"/>
                <a:ea typeface="+mn-ea"/>
                <a:cs typeface="+mn-cs"/>
              </a:rPr>
              <a:t>Resource Group</a:t>
            </a:r>
            <a:r>
              <a:rPr lang="en-US" sz="800" b="0" i="0" u="none" strike="noStrike" kern="1200" dirty="0">
                <a:solidFill>
                  <a:schemeClr val="tx1"/>
                </a:solidFill>
                <a:effectLst/>
                <a:latin typeface="Segoe UI Light" pitchFamily="34" charset="0"/>
                <a:ea typeface="+mn-ea"/>
                <a:cs typeface="+mn-cs"/>
              </a:rPr>
              <a:t>.</a:t>
            </a:r>
          </a:p>
          <a:p>
            <a:r>
              <a:rPr lang="en-US" sz="800" b="0" i="0" u="none" strike="noStrike" kern="1200" dirty="0">
                <a:solidFill>
                  <a:schemeClr val="tx1"/>
                </a:solidFill>
                <a:effectLst/>
                <a:latin typeface="Segoe UI Light" pitchFamily="34" charset="0"/>
                <a:ea typeface="+mn-ea"/>
                <a:cs typeface="+mn-cs"/>
              </a:rPr>
              <a:t>Give the </a:t>
            </a:r>
            <a:r>
              <a:rPr lang="en-US" sz="800" b="1" i="0" u="none" strike="noStrike" kern="1200" dirty="0">
                <a:solidFill>
                  <a:schemeClr val="tx1"/>
                </a:solidFill>
                <a:effectLst/>
                <a:latin typeface="Segoe UI Light" pitchFamily="34" charset="0"/>
                <a:ea typeface="+mn-ea"/>
                <a:cs typeface="+mn-cs"/>
              </a:rPr>
              <a:t>Action name</a:t>
            </a:r>
            <a:r>
              <a:rPr lang="en-US" sz="800" b="0" i="0" u="none" strike="noStrike" kern="1200" dirty="0">
                <a:solidFill>
                  <a:schemeClr val="tx1"/>
                </a:solidFill>
                <a:effectLst/>
                <a:latin typeface="Segoe UI Light" pitchFamily="34" charset="0"/>
                <a:ea typeface="+mn-ea"/>
                <a:cs typeface="+mn-cs"/>
              </a:rPr>
              <a:t> (Email Admins). Select </a:t>
            </a:r>
            <a:r>
              <a:rPr lang="en-US" sz="800" b="1" i="0" u="none" strike="noStrike" kern="1200" dirty="0">
                <a:solidFill>
                  <a:schemeClr val="tx1"/>
                </a:solidFill>
                <a:effectLst/>
                <a:latin typeface="Segoe UI Light" pitchFamily="34" charset="0"/>
                <a:ea typeface="+mn-ea"/>
                <a:cs typeface="+mn-cs"/>
              </a:rPr>
              <a:t>Email/SMS/Push/Voice </a:t>
            </a:r>
            <a:r>
              <a:rPr lang="en-US" sz="800" b="0" i="0" u="none" strike="noStrike" kern="1200" dirty="0">
                <a:solidFill>
                  <a:schemeClr val="tx1"/>
                </a:solidFill>
                <a:effectLst/>
                <a:latin typeface="Segoe UI Light" pitchFamily="34" charset="0"/>
                <a:ea typeface="+mn-ea"/>
                <a:cs typeface="+mn-cs"/>
              </a:rPr>
              <a:t>for the Action Type. Select the</a:t>
            </a:r>
            <a:r>
              <a:rPr lang="en-US" sz="800" b="1" i="0" u="none" strike="noStrike" kern="1200" dirty="0">
                <a:solidFill>
                  <a:schemeClr val="tx1"/>
                </a:solidFill>
                <a:effectLst/>
                <a:latin typeface="Segoe UI Light" pitchFamily="34" charset="0"/>
                <a:ea typeface="+mn-ea"/>
                <a:cs typeface="+mn-cs"/>
              </a:rPr>
              <a:t> Email </a:t>
            </a:r>
            <a:r>
              <a:rPr lang="en-US" sz="800" b="0" i="0" u="none" strike="noStrike" kern="1200" dirty="0">
                <a:solidFill>
                  <a:schemeClr val="tx1"/>
                </a:solidFill>
                <a:effectLst/>
                <a:latin typeface="Segoe UI Light" pitchFamily="34" charset="0"/>
                <a:ea typeface="+mn-ea"/>
                <a:cs typeface="+mn-cs"/>
              </a:rPr>
              <a:t>check box and enter your email address. Click </a:t>
            </a:r>
            <a:r>
              <a:rPr lang="en-US" sz="800" b="1" i="0" u="none" strike="noStrike" kern="1200" dirty="0">
                <a:solidFill>
                  <a:schemeClr val="tx1"/>
                </a:solidFill>
                <a:effectLst/>
                <a:latin typeface="Segoe UI Light" pitchFamily="34" charset="0"/>
                <a:ea typeface="+mn-ea"/>
                <a:cs typeface="+mn-cs"/>
              </a:rPr>
              <a:t>Ok</a:t>
            </a:r>
            <a:r>
              <a:rPr lang="en-US" sz="800" b="0" i="0" u="none" strike="noStrike" kern="1200" dirty="0">
                <a:solidFill>
                  <a:schemeClr val="tx1"/>
                </a:solidFill>
                <a:effectLst/>
                <a:latin typeface="Segoe UI Light" pitchFamily="34" charset="0"/>
                <a:ea typeface="+mn-ea"/>
                <a:cs typeface="+mn-cs"/>
              </a:rPr>
              <a:t>. Click </a:t>
            </a:r>
            <a:r>
              <a:rPr lang="en-US" sz="800" b="1" i="0" u="none" strike="noStrike" kern="1200" dirty="0">
                <a:solidFill>
                  <a:schemeClr val="tx1"/>
                </a:solidFill>
                <a:effectLst/>
                <a:latin typeface="Segoe UI Light" pitchFamily="34" charset="0"/>
                <a:ea typeface="+mn-ea"/>
                <a:cs typeface="+mn-cs"/>
              </a:rPr>
              <a:t>Ok</a:t>
            </a:r>
            <a:r>
              <a:rPr lang="en-US" sz="800" b="0" i="0" u="none" strike="noStrike" kern="1200" dirty="0">
                <a:solidFill>
                  <a:schemeClr val="tx1"/>
                </a:solidFill>
                <a:effectLst/>
                <a:latin typeface="Segoe UI Light" pitchFamily="34" charset="0"/>
                <a:ea typeface="+mn-ea"/>
                <a:cs typeface="+mn-cs"/>
              </a:rPr>
              <a:t> on the </a:t>
            </a:r>
            <a:r>
              <a:rPr lang="en-US" sz="800" b="1" i="0" u="none" strike="noStrike" kern="1200" dirty="0">
                <a:solidFill>
                  <a:schemeClr val="tx1"/>
                </a:solidFill>
                <a:effectLst/>
                <a:latin typeface="Segoe UI Light" pitchFamily="34" charset="0"/>
                <a:ea typeface="+mn-ea"/>
                <a:cs typeface="+mn-cs"/>
              </a:rPr>
              <a:t>Add Action Group </a:t>
            </a:r>
            <a:r>
              <a:rPr lang="en-US" sz="800" b="0" i="0" u="none" strike="noStrike" kern="1200" dirty="0">
                <a:solidFill>
                  <a:schemeClr val="tx1"/>
                </a:solidFill>
                <a:effectLst/>
                <a:latin typeface="Segoe UI Light" pitchFamily="34" charset="0"/>
                <a:ea typeface="+mn-ea"/>
                <a:cs typeface="+mn-cs"/>
              </a:rPr>
              <a:t>tab.</a:t>
            </a:r>
          </a:p>
          <a:p>
            <a:endParaRPr lang="en-US" sz="800" b="0" i="0" u="none" strike="noStrike"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800" b="0" i="0" u="none" strike="noStrike" kern="1200" dirty="0">
                <a:solidFill>
                  <a:schemeClr val="tx1"/>
                </a:solidFill>
                <a:effectLst/>
                <a:latin typeface="Segoe UI Light" pitchFamily="34" charset="0"/>
                <a:ea typeface="+mn-ea"/>
                <a:cs typeface="+mn-cs"/>
              </a:rPr>
              <a:t>It’s good to describe some of the options for the Action Type, especially the Run Book Option.  This is how we can automatically scale the DB up when CPU gets high (or the inverse).</a:t>
            </a:r>
          </a:p>
          <a:p>
            <a:endParaRPr lang="en-US" sz="800" b="1" i="0" u="none" strike="noStrike" kern="1200" dirty="0">
              <a:solidFill>
                <a:schemeClr val="tx1"/>
              </a:solidFill>
              <a:effectLst/>
              <a:latin typeface="Segoe UI Light" pitchFamily="34" charset="0"/>
              <a:ea typeface="+mn-ea"/>
              <a:cs typeface="+mn-cs"/>
            </a:endParaRPr>
          </a:p>
          <a:p>
            <a:r>
              <a:rPr lang="en-US" sz="800" b="1" i="0" u="none" strike="noStrike" kern="1200" dirty="0">
                <a:solidFill>
                  <a:schemeClr val="tx1"/>
                </a:solidFill>
                <a:effectLst/>
                <a:latin typeface="Segoe UI Light" pitchFamily="34" charset="0"/>
                <a:ea typeface="+mn-ea"/>
                <a:cs typeface="+mn-cs"/>
              </a:rPr>
              <a:t>Name</a:t>
            </a:r>
            <a:r>
              <a:rPr lang="en-US" sz="800" b="0" i="0" u="none" strike="noStrike" kern="1200" dirty="0">
                <a:solidFill>
                  <a:schemeClr val="tx1"/>
                </a:solidFill>
                <a:effectLst/>
                <a:latin typeface="Segoe UI Light" pitchFamily="34" charset="0"/>
                <a:ea typeface="+mn-ea"/>
                <a:cs typeface="+mn-cs"/>
              </a:rPr>
              <a:t> your alert rule, and set a </a:t>
            </a:r>
            <a:r>
              <a:rPr lang="en-US" sz="800" b="1" i="0" u="none" strike="noStrike" kern="1200" dirty="0">
                <a:solidFill>
                  <a:schemeClr val="tx1"/>
                </a:solidFill>
                <a:effectLst/>
                <a:latin typeface="Segoe UI Light" pitchFamily="34" charset="0"/>
                <a:ea typeface="+mn-ea"/>
                <a:cs typeface="+mn-cs"/>
              </a:rPr>
              <a:t>Description</a:t>
            </a:r>
            <a:r>
              <a:rPr lang="en-US" sz="800" b="0" i="0" u="none" strike="noStrike" kern="1200" dirty="0">
                <a:solidFill>
                  <a:schemeClr val="tx1"/>
                </a:solidFill>
                <a:effectLst/>
                <a:latin typeface="Segoe UI Light" pitchFamily="34" charset="0"/>
                <a:ea typeface="+mn-ea"/>
                <a:cs typeface="+mn-cs"/>
              </a:rPr>
              <a:t>, which also shows in notification emails.  </a:t>
            </a:r>
          </a:p>
          <a:p>
            <a:endParaRPr lang="en-US" sz="800" b="0" i="0" u="none" strike="noStrike" kern="1200" dirty="0">
              <a:solidFill>
                <a:schemeClr val="tx1"/>
              </a:solidFill>
              <a:effectLst/>
              <a:latin typeface="Segoe UI Light" pitchFamily="34" charset="0"/>
              <a:ea typeface="+mn-ea"/>
              <a:cs typeface="+mn-cs"/>
            </a:endParaRPr>
          </a:p>
          <a:p>
            <a:r>
              <a:rPr lang="en-US" sz="800" b="0" i="0" u="none" strike="noStrike" kern="1200" dirty="0">
                <a:solidFill>
                  <a:schemeClr val="tx1"/>
                </a:solidFill>
                <a:effectLst/>
                <a:latin typeface="Segoe UI Light" pitchFamily="34" charset="0"/>
                <a:ea typeface="+mn-ea"/>
                <a:cs typeface="+mn-cs"/>
              </a:rPr>
              <a:t>Within a few minutes, the alert is active and triggers as previously described.</a:t>
            </a:r>
          </a:p>
          <a:p>
            <a:pPr marL="0" indent="0">
              <a:buFont typeface="Arial" panose="020B0604020202020204" pitchFamily="34" charset="0"/>
              <a:buNone/>
            </a:pPr>
            <a:endParaRPr lang="en-US"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5730477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447674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8</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8/25/2021</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is lesson covers </a:t>
            </a:r>
            <a:r>
              <a:rPr lang="en-US" sz="800" kern="1200" dirty="0">
                <a:solidFill>
                  <a:schemeClr val="bg1"/>
                </a:solidFill>
                <a:latin typeface="Segoe UI Light" pitchFamily="34" charset="0"/>
                <a:ea typeface="+mn-ea"/>
                <a:cs typeface="Segoe UI"/>
              </a:rPr>
              <a:t>Monitoring Query Performance using Query Performance Insight</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3918314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5/202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This lesson covers </a:t>
            </a:r>
            <a:r>
              <a:rPr lang="en-US" sz="800" kern="1200" dirty="0">
                <a:solidFill>
                  <a:schemeClr val="bg1"/>
                </a:solidFill>
                <a:latin typeface="Segoe UI Light" pitchFamily="34" charset="0"/>
                <a:ea typeface="+mn-ea"/>
                <a:cs typeface="Segoe UI"/>
              </a:rPr>
              <a:t>Monitoring Query Performance using Query Performance Insight</a:t>
            </a:r>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dirty="0"/>
              <a:t>Managing and tuning the performance of relational databases is a challenging task that requires significant expertise and time investment. Query Performance Insight allows you to spend less time troubleshooting database performance by providing the following:+ </a:t>
            </a:r>
          </a:p>
          <a:p>
            <a:pPr rtl="0"/>
            <a:r>
              <a:rPr lang="en-US" dirty="0"/>
              <a:t>Deeper insight into your databases resource (DTU) consumption. </a:t>
            </a:r>
          </a:p>
          <a:p>
            <a:pPr rtl="0"/>
            <a:r>
              <a:rPr lang="en-US" dirty="0"/>
              <a:t>The top queries by CPU/Duration/Execution count, which can potentially be tuned for improved performance.</a:t>
            </a:r>
          </a:p>
          <a:p>
            <a:pPr rtl="0"/>
            <a:r>
              <a:rPr lang="en-US" dirty="0"/>
              <a:t>The ability to drill down into the details of a query, view its text and history of resource utilization. </a:t>
            </a:r>
          </a:p>
          <a:p>
            <a:pPr rtl="0"/>
            <a:r>
              <a:rPr lang="en-US" dirty="0"/>
              <a:t>Performance tuning annotations that show actions performed by </a:t>
            </a:r>
            <a:r>
              <a:rPr lang="en-US" dirty="0">
                <a:hlinkClick r:id="rId3"/>
              </a:rPr>
              <a:t>SQL Azure Database Advisor</a:t>
            </a:r>
            <a:r>
              <a:rPr lang="en-US" dirty="0"/>
              <a:t> </a:t>
            </a:r>
          </a:p>
          <a:p>
            <a:endParaRPr lang="nl-BE" dirty="0"/>
          </a:p>
          <a:p>
            <a:pPr rtl="0"/>
            <a:r>
              <a:rPr lang="en-US" dirty="0"/>
              <a:t>Open </a:t>
            </a:r>
            <a:r>
              <a:rPr lang="en-US" dirty="0">
                <a:hlinkClick r:id="rId4"/>
              </a:rPr>
              <a:t>Azure portal</a:t>
            </a:r>
            <a:r>
              <a:rPr lang="en-US" dirty="0"/>
              <a:t> and find database that you want to examine. </a:t>
            </a:r>
          </a:p>
          <a:p>
            <a:pPr lvl="1" rtl="0"/>
            <a:r>
              <a:rPr lang="en-US" dirty="0"/>
              <a:t>From left-hand side menu, under support and troubleshooting, select “Query Performance Insight”.</a:t>
            </a:r>
          </a:p>
          <a:p>
            <a:pPr rtl="0"/>
            <a:r>
              <a:rPr lang="en-US" dirty="0"/>
              <a:t>On the first tab, review the list of top resource-consuming queries.</a:t>
            </a:r>
          </a:p>
          <a:p>
            <a:pPr rtl="0"/>
            <a:r>
              <a:rPr lang="en-US" dirty="0"/>
              <a:t>Select an individual query to view its details.</a:t>
            </a:r>
          </a:p>
          <a:p>
            <a:pPr rtl="0"/>
            <a:r>
              <a:rPr lang="en-US" dirty="0"/>
              <a:t>Open </a:t>
            </a:r>
            <a:r>
              <a:rPr lang="en-US" dirty="0">
                <a:hlinkClick r:id="rId3"/>
              </a:rPr>
              <a:t>SQL Azure Database Advisor</a:t>
            </a:r>
            <a:r>
              <a:rPr lang="en-US" dirty="0"/>
              <a:t> and check if any recommendations are available.</a:t>
            </a:r>
          </a:p>
          <a:p>
            <a:pPr rtl="0"/>
            <a:r>
              <a:rPr lang="en-US" dirty="0"/>
              <a:t>Use sliders or zoom icons to change observed interval.</a:t>
            </a:r>
          </a:p>
          <a:p>
            <a:endParaRPr lang="nl-BE" dirty="0"/>
          </a:p>
          <a:p>
            <a:endParaRPr lang="nl-BE" dirty="0"/>
          </a:p>
          <a:p>
            <a:r>
              <a:rPr lang="en-US" dirty="0"/>
              <a:t>The top line shows overall DTU% for the database, while the bars show CPU% consumed by the selected queries during the selected interval (for example, if </a:t>
            </a:r>
            <a:r>
              <a:rPr lang="en-US" b="1" dirty="0"/>
              <a:t>Past week</a:t>
            </a:r>
            <a:r>
              <a:rPr lang="en-US" dirty="0"/>
              <a:t> is selected each bar represents one day).</a:t>
            </a:r>
          </a:p>
          <a:p>
            <a:endParaRPr lang="en-US" dirty="0"/>
          </a:p>
          <a:p>
            <a:pPr rtl="0"/>
            <a:r>
              <a:rPr lang="en-US" dirty="0"/>
              <a:t>The bottom grid represents aggregated information for the visible queries.</a:t>
            </a:r>
          </a:p>
          <a:p>
            <a:pPr lvl="1" rtl="0"/>
            <a:r>
              <a:rPr lang="en-US" dirty="0"/>
              <a:t>Query ID - unique identifier of query inside database.</a:t>
            </a:r>
          </a:p>
          <a:p>
            <a:pPr lvl="1" rtl="0"/>
            <a:r>
              <a:rPr lang="en-US" dirty="0"/>
              <a:t>CPU per query during observable interval (depends on aggregation function).</a:t>
            </a:r>
          </a:p>
          <a:p>
            <a:pPr lvl="1" rtl="0"/>
            <a:r>
              <a:rPr lang="en-US" dirty="0"/>
              <a:t>Duration per query (depends on aggregation function).</a:t>
            </a:r>
          </a:p>
          <a:p>
            <a:pPr lvl="1" rtl="0"/>
            <a:r>
              <a:rPr lang="en-US" dirty="0"/>
              <a:t>Total number of executions for a particular query.</a:t>
            </a: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a:p>
        </p:txBody>
      </p:sp>
    </p:spTree>
    <p:extLst>
      <p:ext uri="{BB962C8B-B14F-4D97-AF65-F5344CB8AC3E}">
        <p14:creationId xmlns:p14="http://schemas.microsoft.com/office/powerpoint/2010/main" val="25827233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userDrawn="1">
          <p15:clr>
            <a:srgbClr val="547EBF"/>
          </p15:clr>
        </p15:guide>
        <p15:guide id="31" orient="horz" pos="887" userDrawn="1">
          <p15:clr>
            <a:srgbClr val="547EBF"/>
          </p15:clr>
        </p15:guide>
        <p15:guide id="32" pos="3938" userDrawn="1">
          <p15:clr>
            <a:srgbClr val="547EBF"/>
          </p15:clr>
        </p15:guide>
        <p15:guide id="33" pos="3350" userDrawn="1">
          <p15:clr>
            <a:srgbClr val="A4A3A4"/>
          </p15:clr>
        </p15:guide>
        <p15:guide id="34" pos="3155" userDrawn="1">
          <p15:clr>
            <a:srgbClr val="A4A3A4"/>
          </p15:clr>
        </p15:guide>
        <p15:guide id="35" pos="2763" userDrawn="1">
          <p15:clr>
            <a:srgbClr val="A4A3A4"/>
          </p15:clr>
        </p15:guide>
        <p15:guide id="36" pos="2567" userDrawn="1">
          <p15:clr>
            <a:srgbClr val="A4A3A4"/>
          </p15:clr>
        </p15:guide>
        <p15:guide id="37" pos="2175" userDrawn="1">
          <p15:clr>
            <a:srgbClr val="A4A3A4"/>
          </p15:clr>
        </p15:guide>
        <p15:guide id="38" pos="1980" userDrawn="1">
          <p15:clr>
            <a:srgbClr val="A4A3A4"/>
          </p15:clr>
        </p15:guide>
        <p15:guide id="39" pos="1588" userDrawn="1">
          <p15:clr>
            <a:srgbClr val="A4A3A4"/>
          </p15:clr>
        </p15:guide>
        <p15:guide id="40" pos="1392" userDrawn="1">
          <p15:clr>
            <a:srgbClr val="A4A3A4"/>
          </p15:clr>
        </p15:guide>
        <p15:guide id="41" pos="1000" userDrawn="1">
          <p15:clr>
            <a:srgbClr val="A4A3A4"/>
          </p15:clr>
        </p15:guide>
        <p15:guide id="42" pos="804" userDrawn="1">
          <p15:clr>
            <a:srgbClr val="A4A3A4"/>
          </p15:clr>
        </p15:guide>
        <p15:guide id="43" pos="413" userDrawn="1">
          <p15:clr>
            <a:srgbClr val="547EBF"/>
          </p15:clr>
        </p15:guide>
        <p15:guide id="44" pos="4330" userDrawn="1">
          <p15:clr>
            <a:srgbClr val="A4A3A4"/>
          </p15:clr>
        </p15:guide>
        <p15:guide id="45" pos="4525" userDrawn="1">
          <p15:clr>
            <a:srgbClr val="A4A3A4"/>
          </p15:clr>
        </p15:guide>
        <p15:guide id="46" pos="5505" userDrawn="1">
          <p15:clr>
            <a:srgbClr val="A4A3A4"/>
          </p15:clr>
        </p15:guide>
        <p15:guide id="47" pos="5113" userDrawn="1">
          <p15:clr>
            <a:srgbClr val="A4A3A4"/>
          </p15:clr>
        </p15:guide>
        <p15:guide id="48" pos="4917" userDrawn="1">
          <p15:clr>
            <a:srgbClr val="A4A3A4"/>
          </p15:clr>
        </p15:guide>
        <p15:guide id="49" pos="5700" userDrawn="1">
          <p15:clr>
            <a:srgbClr val="A4A3A4"/>
          </p15:clr>
        </p15:guide>
        <p15:guide id="50" pos="6092" userDrawn="1">
          <p15:clr>
            <a:srgbClr val="A4A3A4"/>
          </p15:clr>
        </p15:guide>
        <p15:guide id="51" pos="6288" userDrawn="1">
          <p15:clr>
            <a:srgbClr val="A4A3A4"/>
          </p15:clr>
        </p15:guide>
        <p15:guide id="52" pos="6680" userDrawn="1">
          <p15:clr>
            <a:srgbClr val="A4A3A4"/>
          </p15:clr>
        </p15:guide>
        <p15:guide id="53" pos="6876" userDrawn="1">
          <p15:clr>
            <a:srgbClr val="A4A3A4"/>
          </p15:clr>
        </p15:guide>
        <p15:guide id="54" pos="7267" userDrawn="1">
          <p15:clr>
            <a:srgbClr val="547EBF"/>
          </p15:clr>
        </p15:guide>
        <p15:guide id="55" orient="horz" pos="3923" userDrawn="1">
          <p15:clr>
            <a:srgbClr val="547EBF"/>
          </p15:clr>
        </p15:guide>
        <p15:guide id="56" orient="horz" pos="789" userDrawn="1">
          <p15:clr>
            <a:srgbClr val="547EBF"/>
          </p15:clr>
        </p15:guide>
        <p15:guide id="57" orient="horz" pos="202" userDrawn="1">
          <p15:clr>
            <a:srgbClr val="547EBF"/>
          </p15:clr>
        </p15:guide>
        <p15:guide id="58"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userDrawn="1">
          <p15:clr>
            <a:srgbClr val="547EBF"/>
          </p15:clr>
        </p15:guide>
        <p15:guide id="31" orient="horz" pos="887" userDrawn="1">
          <p15:clr>
            <a:srgbClr val="547EBF"/>
          </p15:clr>
        </p15:guide>
        <p15:guide id="32" orient="horz" pos="789" userDrawn="1">
          <p15:clr>
            <a:srgbClr val="547EBF"/>
          </p15:clr>
        </p15:guide>
        <p15:guide id="33" orient="horz" pos="495" userDrawn="1">
          <p15:clr>
            <a:srgbClr val="547EBF"/>
          </p15:clr>
        </p15:guide>
        <p15:guide id="34" orient="horz" pos="202" userDrawn="1">
          <p15:clr>
            <a:srgbClr val="547EBF"/>
          </p15:clr>
        </p15:guide>
        <p15:guide id="35" orient="horz" pos="3923" userDrawn="1">
          <p15:clr>
            <a:srgbClr val="547EBF"/>
          </p15:clr>
        </p15:guide>
        <p15:guide id="36" pos="804" userDrawn="1">
          <p15:clr>
            <a:srgbClr val="A4A3A4"/>
          </p15:clr>
        </p15:guide>
        <p15:guide id="37" pos="1000" userDrawn="1">
          <p15:clr>
            <a:srgbClr val="A4A3A4"/>
          </p15:clr>
        </p15:guide>
        <p15:guide id="38" pos="1392" userDrawn="1">
          <p15:clr>
            <a:srgbClr val="A4A3A4"/>
          </p15:clr>
        </p15:guide>
        <p15:guide id="39" pos="1588" userDrawn="1">
          <p15:clr>
            <a:srgbClr val="A4A3A4"/>
          </p15:clr>
        </p15:guide>
        <p15:guide id="40" pos="1980" userDrawn="1">
          <p15:clr>
            <a:srgbClr val="A4A3A4"/>
          </p15:clr>
        </p15:guide>
        <p15:guide id="41" pos="2175" userDrawn="1">
          <p15:clr>
            <a:srgbClr val="A4A3A4"/>
          </p15:clr>
        </p15:guide>
        <p15:guide id="42" pos="2567" userDrawn="1">
          <p15:clr>
            <a:srgbClr val="A4A3A4"/>
          </p15:clr>
        </p15:guide>
        <p15:guide id="43" pos="2763" userDrawn="1">
          <p15:clr>
            <a:srgbClr val="A4A3A4"/>
          </p15:clr>
        </p15:guide>
        <p15:guide id="44" pos="3155" userDrawn="1">
          <p15:clr>
            <a:srgbClr val="A4A3A4"/>
          </p15:clr>
        </p15:guide>
        <p15:guide id="45" pos="3350" userDrawn="1">
          <p15:clr>
            <a:srgbClr val="A4A3A4"/>
          </p15:clr>
        </p15:guide>
        <p15:guide id="46" pos="3742" userDrawn="1">
          <p15:clr>
            <a:srgbClr val="547EBF"/>
          </p15:clr>
        </p15:guide>
        <p15:guide id="47" pos="3938" userDrawn="1">
          <p15:clr>
            <a:srgbClr val="547EBF"/>
          </p15:clr>
        </p15:guide>
        <p15:guide id="48" pos="4330" userDrawn="1">
          <p15:clr>
            <a:srgbClr val="A4A3A4"/>
          </p15:clr>
        </p15:guide>
        <p15:guide id="49" pos="4525" userDrawn="1">
          <p15:clr>
            <a:srgbClr val="A4A3A4"/>
          </p15:clr>
        </p15:guide>
        <p15:guide id="50" pos="5113" userDrawn="1">
          <p15:clr>
            <a:srgbClr val="A4A3A4"/>
          </p15:clr>
        </p15:guide>
        <p15:guide id="51" pos="4917" userDrawn="1">
          <p15:clr>
            <a:srgbClr val="A4A3A4"/>
          </p15:clr>
        </p15:guide>
        <p15:guide id="52" pos="5505" userDrawn="1">
          <p15:clr>
            <a:srgbClr val="A4A3A4"/>
          </p15:clr>
        </p15:guide>
        <p15:guide id="53" pos="5700" userDrawn="1">
          <p15:clr>
            <a:srgbClr val="A4A3A4"/>
          </p15:clr>
        </p15:guide>
        <p15:guide id="54" pos="6092" userDrawn="1">
          <p15:clr>
            <a:srgbClr val="A4A3A4"/>
          </p15:clr>
        </p15:guide>
        <p15:guide id="55" pos="6288" userDrawn="1">
          <p15:clr>
            <a:srgbClr val="A4A3A4"/>
          </p15:clr>
        </p15:guide>
        <p15:guide id="56" pos="6680" userDrawn="1">
          <p15:clr>
            <a:srgbClr val="A4A3A4"/>
          </p15:clr>
        </p15:guide>
        <p15:guide id="57" pos="6876" userDrawn="1">
          <p15:clr>
            <a:srgbClr val="A4A3A4"/>
          </p15:clr>
        </p15:guide>
        <p15:guide id="58"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userDrawn="1">
          <p15:clr>
            <a:srgbClr val="547EBF"/>
          </p15:clr>
        </p15:guide>
        <p15:guide id="7" pos="6092" userDrawn="1">
          <p15:clr>
            <a:srgbClr val="547EBF"/>
          </p15:clr>
        </p15:guide>
        <p15:guide id="8" orient="horz" pos="2160" userDrawn="1">
          <p15:clr>
            <a:srgbClr val="547EBF"/>
          </p15:clr>
        </p15:guide>
        <p15:guide id="9" orient="horz" pos="2258" userDrawn="1">
          <p15:clr>
            <a:srgbClr val="547EBF"/>
          </p15:clr>
        </p15:guide>
        <p15:guide id="10"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dirty="0"/>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dirty="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dirty="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dirty="0"/>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dirty="0"/>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userDrawn="1">
          <p15:clr>
            <a:srgbClr val="547EBF"/>
          </p15:clr>
        </p15:guide>
        <p15:guide id="9" orient="horz" pos="495" userDrawn="1">
          <p15:clr>
            <a:srgbClr val="547EBF"/>
          </p15:clr>
        </p15:guide>
        <p15:guide id="10" pos="7267" userDrawn="1">
          <p15:clr>
            <a:srgbClr val="547EBF"/>
          </p15:clr>
        </p15:guide>
        <p15:guide id="11" orient="horz" pos="202" userDrawn="1">
          <p15:clr>
            <a:srgbClr val="547EBF"/>
          </p15:clr>
        </p15:guide>
        <p15:guide id="12" orient="horz" pos="789" userDrawn="1">
          <p15:clr>
            <a:srgbClr val="547EBF"/>
          </p15:clr>
        </p15:guide>
        <p15:guide id="13" orient="horz" pos="912" userDrawn="1">
          <p15:clr>
            <a:srgbClr val="547EBF"/>
          </p15:clr>
        </p15:guide>
        <p15:guide id="14"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dirty="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userDrawn="1">
          <p15:clr>
            <a:srgbClr val="FFFFFF"/>
          </p15:clr>
        </p15:guide>
        <p15:guide id="10" orient="horz" pos="495" userDrawn="1">
          <p15:clr>
            <a:srgbClr val="FFFFFF"/>
          </p15:clr>
        </p15:guide>
        <p15:guide id="11" orient="horz" pos="887" userDrawn="1">
          <p15:clr>
            <a:srgbClr val="FFFFFF"/>
          </p15:clr>
        </p15:guide>
        <p15:guide id="12" orient="horz" pos="3923" userDrawn="1">
          <p15:clr>
            <a:srgbClr val="FFFFFF"/>
          </p15:clr>
        </p15:guide>
        <p15:guide id="13" pos="413" userDrawn="1">
          <p15:clr>
            <a:srgbClr val="FFFFFF"/>
          </p15:clr>
        </p15:guide>
        <p15:guide id="14" pos="7267" userDrawn="1">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dirty="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dirty="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dirty="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dirty="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dirty="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userDrawn="1">
          <p15:clr>
            <a:srgbClr val="A4A3A4"/>
          </p15:clr>
        </p15:guide>
        <p15:guide id="10" orient="horz" pos="2258" userDrawn="1">
          <p15:clr>
            <a:srgbClr val="547EBF"/>
          </p15:clr>
        </p15:guide>
        <p15:guide id="11" orient="horz" pos="1866" userDrawn="1">
          <p15:clr>
            <a:srgbClr val="547EBF"/>
          </p15:clr>
        </p15:guide>
        <p15:guide id="12" orient="horz" pos="2650" userDrawn="1">
          <p15:clr>
            <a:srgbClr val="547EBF"/>
          </p15:clr>
        </p15:guide>
        <p15:guide id="13" orient="horz" pos="2454" userDrawn="1">
          <p15:clr>
            <a:srgbClr val="547EBF"/>
          </p15:clr>
        </p15:guide>
        <p15:guide id="14" pos="413" userDrawn="1">
          <p15:clr>
            <a:srgbClr val="547EBF"/>
          </p15:clr>
        </p15:guide>
        <p15:guide id="15" pos="6092"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A4A3A4"/>
          </p15:clr>
        </p15:guide>
        <p15:guide id="2" pos="192" userDrawn="1">
          <p15:clr>
            <a:srgbClr val="A4A3A4"/>
          </p15:clr>
        </p15:guide>
        <p15:guide id="3" orient="horz" pos="384" userDrawn="1">
          <p15:clr>
            <a:srgbClr val="F26B43"/>
          </p15:clr>
        </p15:guide>
        <p15:guide id="5" orient="horz" pos="4128" userDrawn="1">
          <p15:clr>
            <a:srgbClr val="A4A3A4"/>
          </p15:clr>
        </p15:guide>
        <p15:guide id="6" orient="horz" pos="3936" userDrawn="1">
          <p15:clr>
            <a:srgbClr val="F26B43"/>
          </p15:clr>
        </p15:guide>
        <p15:guide id="7" pos="7296" userDrawn="1">
          <p15:clr>
            <a:srgbClr val="F26B43"/>
          </p15:clr>
        </p15:guide>
        <p15:guide id="8" pos="7488" userDrawn="1">
          <p15:clr>
            <a:srgbClr val="A4A3A4"/>
          </p15:clr>
        </p15:guide>
        <p15:guide id="9" pos="38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customXml" Target="../../customXml/item3.xml"/><Relationship Id="rId7" Type="http://schemas.openxmlformats.org/officeDocument/2006/relationships/image" Target="../media/image4.png"/><Relationship Id="rId2" Type="http://schemas.openxmlformats.org/officeDocument/2006/relationships/customXml" Target="../../customXml/item4.xml"/><Relationship Id="rId1" Type="http://schemas.openxmlformats.org/officeDocument/2006/relationships/tags" Target="../tags/tag9.xml"/><Relationship Id="rId6" Type="http://schemas.openxmlformats.org/officeDocument/2006/relationships/notesSlide" Target="../notesSlides/notesSlide8.xml"/><Relationship Id="rId5" Type="http://schemas.openxmlformats.org/officeDocument/2006/relationships/slideLayout" Target="../slideLayouts/slideLayout9.xml"/><Relationship Id="rId4" Type="http://schemas.openxmlformats.org/officeDocument/2006/relationships/tags" Target="../tags/tag10.xml"/></Relationships>
</file>

<file path=ppt/slides/_rels/slide11.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diagramLayout" Target="../diagrams/layout4.xml"/><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diagramData" Target="../diagrams/data4.xml"/><Relationship Id="rId2" Type="http://schemas.openxmlformats.org/officeDocument/2006/relationships/notesSlide" Target="../notesSlides/notesSlide9.xml"/><Relationship Id="rId16" Type="http://schemas.microsoft.com/office/2007/relationships/diagramDrawing" Target="../diagrams/drawing4.xml"/><Relationship Id="rId1" Type="http://schemas.openxmlformats.org/officeDocument/2006/relationships/slideLayout" Target="../slideLayouts/slideLayout8.xml"/><Relationship Id="rId6" Type="http://schemas.openxmlformats.org/officeDocument/2006/relationships/diagramColors" Target="../diagrams/colors3.xml"/><Relationship Id="rId11" Type="http://schemas.openxmlformats.org/officeDocument/2006/relationships/image" Target="../media/image9.png"/><Relationship Id="rId5" Type="http://schemas.openxmlformats.org/officeDocument/2006/relationships/diagramQuickStyle" Target="../diagrams/quickStyle3.xml"/><Relationship Id="rId15" Type="http://schemas.openxmlformats.org/officeDocument/2006/relationships/diagramColors" Target="../diagrams/colors4.xml"/><Relationship Id="rId10" Type="http://schemas.openxmlformats.org/officeDocument/2006/relationships/image" Target="../media/image8.png"/><Relationship Id="rId4" Type="http://schemas.openxmlformats.org/officeDocument/2006/relationships/diagramLayout" Target="../diagrams/layout3.xml"/><Relationship Id="rId9" Type="http://schemas.openxmlformats.org/officeDocument/2006/relationships/image" Target="../media/image7.png"/><Relationship Id="rId14" Type="http://schemas.openxmlformats.org/officeDocument/2006/relationships/diagramQuickStyle" Target="../diagrams/quickStyle4.xml"/></Relationships>
</file>

<file path=ppt/slides/_rels/slide1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 Id="rId9" Type="http://schemas.openxmlformats.org/officeDocument/2006/relationships/image" Target="../media/image11.png"/></Relationships>
</file>

<file path=ppt/slides/_rels/slide1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4.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13.png"/><Relationship Id="rId7" Type="http://schemas.openxmlformats.org/officeDocument/2006/relationships/diagramColors" Target="../diagrams/colors7.xml"/><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0.xml"/><Relationship Id="rId1" Type="http://schemas.openxmlformats.org/officeDocument/2006/relationships/tags" Target="../tags/tag11.xml"/><Relationship Id="rId4" Type="http://schemas.openxmlformats.org/officeDocument/2006/relationships/image" Target="../media/image15.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6.png"/><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5.jfif"/><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customXml" Target="../../customXml/item6.xml"/><Relationship Id="rId7" Type="http://schemas.openxmlformats.org/officeDocument/2006/relationships/image" Target="../media/image4.png"/><Relationship Id="rId2" Type="http://schemas.openxmlformats.org/officeDocument/2006/relationships/customXml" Target="../../customXml/item11.xml"/><Relationship Id="rId1" Type="http://schemas.openxmlformats.org/officeDocument/2006/relationships/tags" Target="../tags/tag16.xml"/><Relationship Id="rId6" Type="http://schemas.openxmlformats.org/officeDocument/2006/relationships/notesSlide" Target="../notesSlides/notesSlide19.xml"/><Relationship Id="rId5" Type="http://schemas.openxmlformats.org/officeDocument/2006/relationships/slideLayout" Target="../slideLayouts/slideLayout9.xml"/><Relationship Id="rId4" Type="http://schemas.openxmlformats.org/officeDocument/2006/relationships/tags" Target="../tags/tag17.xm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hyperlink" Target="https://docs.microsoft.com/en-us/azure/sql-database/sql-database-advisor"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diagramLayout" Target="../diagrams/layout10.xml"/><Relationship Id="rId7" Type="http://schemas.openxmlformats.org/officeDocument/2006/relationships/image" Target="../media/image18.png"/><Relationship Id="rId2" Type="http://schemas.openxmlformats.org/officeDocument/2006/relationships/diagramData" Target="../diagrams/data10.xml"/><Relationship Id="rId1" Type="http://schemas.openxmlformats.org/officeDocument/2006/relationships/slideLayout" Target="../slideLayouts/slideLayout8.xml"/><Relationship Id="rId6" Type="http://schemas.microsoft.com/office/2007/relationships/diagramDrawing" Target="../diagrams/drawing10.xml"/><Relationship Id="rId5" Type="http://schemas.openxmlformats.org/officeDocument/2006/relationships/diagramColors" Target="../diagrams/colors10.xml"/><Relationship Id="rId10" Type="http://schemas.openxmlformats.org/officeDocument/2006/relationships/hyperlink" Target="http://automaticplancorrectiondemo.azurewebsites.net/index.html" TargetMode="External"/><Relationship Id="rId4" Type="http://schemas.openxmlformats.org/officeDocument/2006/relationships/diagramQuickStyle" Target="../diagrams/quickStyle10.xml"/><Relationship Id="rId9" Type="http://schemas.openxmlformats.org/officeDocument/2006/relationships/image" Target="../media/image20.png"/></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5.jfif"/><Relationship Id="rId4" Type="http://schemas.openxmlformats.org/officeDocument/2006/relationships/notesSlide" Target="../notesSlides/notesSlide24.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5.xml"/><Relationship Id="rId1" Type="http://schemas.openxmlformats.org/officeDocument/2006/relationships/slideLayout" Target="../slideLayouts/slideLayout1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customXml" Target="../../customXml/item7.xml"/><Relationship Id="rId7" Type="http://schemas.openxmlformats.org/officeDocument/2006/relationships/image" Target="../media/image4.png"/><Relationship Id="rId2" Type="http://schemas.openxmlformats.org/officeDocument/2006/relationships/customXml" Target="../../customXml/item10.xml"/><Relationship Id="rId1" Type="http://schemas.openxmlformats.org/officeDocument/2006/relationships/tags" Target="../tags/tag20.xml"/><Relationship Id="rId6" Type="http://schemas.openxmlformats.org/officeDocument/2006/relationships/notesSlide" Target="../notesSlides/notesSlide26.xml"/><Relationship Id="rId5" Type="http://schemas.openxmlformats.org/officeDocument/2006/relationships/slideLayout" Target="../slideLayouts/slideLayout9.xml"/><Relationship Id="rId4" Type="http://schemas.openxmlformats.org/officeDocument/2006/relationships/tags" Target="../tags/tag21.xml"/></Relationships>
</file>

<file path=ppt/slides/_rels/slide31.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image" Target="../media/image21.png"/><Relationship Id="rId7" Type="http://schemas.openxmlformats.org/officeDocument/2006/relationships/diagramColors" Target="../diagrams/colors15.xml"/><Relationship Id="rId2" Type="http://schemas.openxmlformats.org/officeDocument/2006/relationships/notesSlide" Target="../notesSlides/notesSlide27.xml"/><Relationship Id="rId1" Type="http://schemas.openxmlformats.org/officeDocument/2006/relationships/slideLayout" Target="../slideLayouts/slideLayout8.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3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8.xml"/><Relationship Id="rId1" Type="http://schemas.openxmlformats.org/officeDocument/2006/relationships/slideLayout" Target="../slideLayouts/slideLayout8.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33.xml.rels><?xml version="1.0" encoding="UTF-8" standalone="yes"?>
<Relationships xmlns="http://schemas.openxmlformats.org/package/2006/relationships"><Relationship Id="rId8" Type="http://schemas.openxmlformats.org/officeDocument/2006/relationships/hyperlink" Target="https://docs.microsoft.com/en-us/azure/sql-database/sql-database-intelligent-insights-troubleshoot-performance#pagelatch-contention" TargetMode="External"/><Relationship Id="rId3" Type="http://schemas.openxmlformats.org/officeDocument/2006/relationships/hyperlink" Target="https://docs.microsoft.com/en-us/azure/sql-database/sql-database-intelligent-insights-troubleshoot-performance#reaching-resource-limits" TargetMode="External"/><Relationship Id="rId7" Type="http://schemas.openxmlformats.org/officeDocument/2006/relationships/hyperlink" Target="https://docs.microsoft.com/en-us/azure/sql-database/sql-database-intelligent-insights-troubleshoot-performance#increased-maxdop" TargetMode="External"/><Relationship Id="rId2" Type="http://schemas.openxmlformats.org/officeDocument/2006/relationships/notesSlide" Target="../notesSlides/notesSlide29.xml"/><Relationship Id="rId1" Type="http://schemas.openxmlformats.org/officeDocument/2006/relationships/slideLayout" Target="../slideLayouts/slideLayout8.xml"/><Relationship Id="rId6" Type="http://schemas.openxmlformats.org/officeDocument/2006/relationships/hyperlink" Target="https://docs.microsoft.com/en-us/azure/sql-database/sql-database-intelligent-insights-troubleshoot-performance#locking" TargetMode="External"/><Relationship Id="rId5" Type="http://schemas.openxmlformats.org/officeDocument/2006/relationships/hyperlink" Target="https://docs.microsoft.com/en-us/azure/sql-database/sql-database-intelligent-insights-troubleshoot-performance#memory-pressure" TargetMode="External"/><Relationship Id="rId4" Type="http://schemas.openxmlformats.org/officeDocument/2006/relationships/hyperlink" Target="https://docs.microsoft.com/en-us/azure/sql-database/sql-database-intelligent-insights-troubleshoot-performance#workload-increase" TargetMode="External"/><Relationship Id="rId9" Type="http://schemas.openxmlformats.org/officeDocument/2006/relationships/hyperlink" Target="https://docs.microsoft.com/en-us/azure/sql-database/sql-database-intelligent-insights-troubleshoot-performance#missing-index" TargetMode="External"/></Relationships>
</file>

<file path=ppt/slides/_rels/slide34.xml.rels><?xml version="1.0" encoding="UTF-8" standalone="yes"?>
<Relationships xmlns="http://schemas.openxmlformats.org/package/2006/relationships"><Relationship Id="rId8" Type="http://schemas.openxmlformats.org/officeDocument/2006/relationships/hyperlink" Target="https://docs.microsoft.com/en-us/azure/sql-database/sql-database-intelligent-insights-troubleshoot-performance#database-scoped-configuration-value-change" TargetMode="External"/><Relationship Id="rId3" Type="http://schemas.openxmlformats.org/officeDocument/2006/relationships/hyperlink" Target="https://docs.microsoft.com/en-us/azure/sql-database/sql-database-intelligent-insights-troubleshoot-performance#new-query" TargetMode="External"/><Relationship Id="rId7" Type="http://schemas.openxmlformats.org/officeDocument/2006/relationships/hyperlink" Target="https://docs.microsoft.com/en-us/azure/sql-database/sql-database-intelligent-insights-troubleshoot-performance#plan-regression" TargetMode="External"/><Relationship Id="rId2" Type="http://schemas.openxmlformats.org/officeDocument/2006/relationships/notesSlide" Target="../notesSlides/notesSlide30.xml"/><Relationship Id="rId1" Type="http://schemas.openxmlformats.org/officeDocument/2006/relationships/slideLayout" Target="../slideLayouts/slideLayout8.xml"/><Relationship Id="rId6" Type="http://schemas.openxmlformats.org/officeDocument/2006/relationships/hyperlink" Target="https://docs.microsoft.com/en-us/azure/sql-database/sql-database-intelligent-insights-troubleshoot-performance#elastic-pool-dtu-shortage" TargetMode="External"/><Relationship Id="rId5" Type="http://schemas.openxmlformats.org/officeDocument/2006/relationships/hyperlink" Target="https://docs.microsoft.com/en-us/azure/sql-database/sql-database-intelligent-insights-troubleshoot-performance#tempdb-contention" TargetMode="External"/><Relationship Id="rId10" Type="http://schemas.openxmlformats.org/officeDocument/2006/relationships/hyperlink" Target="https://docs.microsoft.com/en-us/azure/sql-database/sql-database-intelligent-insights-troubleshoot-performance#pricing-tier-downgrade" TargetMode="External"/><Relationship Id="rId4" Type="http://schemas.openxmlformats.org/officeDocument/2006/relationships/hyperlink" Target="https://docs.microsoft.com/en-us/azure/sql-database/sql-database-intelligent-insights-troubleshoot-performance#unusual-wait-statistic" TargetMode="External"/><Relationship Id="rId9" Type="http://schemas.openxmlformats.org/officeDocument/2006/relationships/hyperlink" Target="https://docs.microsoft.com/en-us/azure/sql-database/sql-database-intelligent-insights-troubleshoot-performance#slow-client" TargetMode="External"/></Relationships>
</file>

<file path=ppt/slides/_rels/slide3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2.xml"/><Relationship Id="rId1" Type="http://schemas.openxmlformats.org/officeDocument/2006/relationships/slideLayout" Target="../slideLayouts/slideLayout8.xml"/><Relationship Id="rId4" Type="http://schemas.openxmlformats.org/officeDocument/2006/relationships/image" Target="../media/image25.png"/></Relationships>
</file>

<file path=ppt/slides/_rels/slide37.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0.xml"/><Relationship Id="rId1" Type="http://schemas.openxmlformats.org/officeDocument/2006/relationships/tags" Target="../tags/tag22.xml"/><Relationship Id="rId4" Type="http://schemas.openxmlformats.org/officeDocument/2006/relationships/image" Target="../media/image15.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5.jfif"/><Relationship Id="rId4" Type="http://schemas.openxmlformats.org/officeDocument/2006/relationships/notesSlide" Target="../notesSlides/notesSlide3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36.xml"/><Relationship Id="rId1" Type="http://schemas.openxmlformats.org/officeDocument/2006/relationships/slideLayout" Target="../slideLayouts/slideLayout14.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3" Type="http://schemas.openxmlformats.org/officeDocument/2006/relationships/customXml" Target="../../customXml/item13.xml"/><Relationship Id="rId7" Type="http://schemas.openxmlformats.org/officeDocument/2006/relationships/image" Target="../media/image4.png"/><Relationship Id="rId2" Type="http://schemas.openxmlformats.org/officeDocument/2006/relationships/customXml" Target="../../customXml/item8.xml"/><Relationship Id="rId1" Type="http://schemas.openxmlformats.org/officeDocument/2006/relationships/tags" Target="../tags/tag25.xml"/><Relationship Id="rId6" Type="http://schemas.openxmlformats.org/officeDocument/2006/relationships/notesSlide" Target="../notesSlides/notesSlide37.xml"/><Relationship Id="rId5" Type="http://schemas.openxmlformats.org/officeDocument/2006/relationships/slideLayout" Target="../slideLayouts/slideLayout9.xml"/><Relationship Id="rId4" Type="http://schemas.openxmlformats.org/officeDocument/2006/relationships/tags" Target="../tags/tag26.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38.xml"/><Relationship Id="rId1" Type="http://schemas.openxmlformats.org/officeDocument/2006/relationships/slideLayout" Target="../slideLayouts/slideLayout9.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9.xml"/><Relationship Id="rId1" Type="http://schemas.openxmlformats.org/officeDocument/2006/relationships/slideLayout" Target="../slideLayouts/slideLayout8.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40.xml"/><Relationship Id="rId1" Type="http://schemas.openxmlformats.org/officeDocument/2006/relationships/slideLayout" Target="../slideLayouts/slideLayout8.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22.xml"/><Relationship Id="rId2" Type="http://schemas.openxmlformats.org/officeDocument/2006/relationships/diagramData" Target="../diagrams/data22.xml"/><Relationship Id="rId1" Type="http://schemas.openxmlformats.org/officeDocument/2006/relationships/slideLayout" Target="../slideLayouts/slideLayout8.xml"/><Relationship Id="rId6" Type="http://schemas.microsoft.com/office/2007/relationships/diagramDrawing" Target="../diagrams/drawing22.xml"/><Relationship Id="rId5" Type="http://schemas.openxmlformats.org/officeDocument/2006/relationships/diagramColors" Target="../diagrams/colors22.xml"/><Relationship Id="rId4" Type="http://schemas.openxmlformats.org/officeDocument/2006/relationships/diagramQuickStyle" Target="../diagrams/quickStyle22.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23.xml"/><Relationship Id="rId2" Type="http://schemas.openxmlformats.org/officeDocument/2006/relationships/diagramData" Target="../diagrams/data23.xml"/><Relationship Id="rId1" Type="http://schemas.openxmlformats.org/officeDocument/2006/relationships/slideLayout" Target="../slideLayouts/slideLayout8.xml"/><Relationship Id="rId6" Type="http://schemas.microsoft.com/office/2007/relationships/diagramDrawing" Target="../diagrams/drawing23.xml"/><Relationship Id="rId5" Type="http://schemas.openxmlformats.org/officeDocument/2006/relationships/diagramColors" Target="../diagrams/colors23.xml"/><Relationship Id="rId4" Type="http://schemas.openxmlformats.org/officeDocument/2006/relationships/diagramQuickStyle" Target="../diagrams/quickStyle23.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0.xml"/><Relationship Id="rId1" Type="http://schemas.openxmlformats.org/officeDocument/2006/relationships/tags" Target="../tags/tag27.xml"/><Relationship Id="rId4" Type="http://schemas.openxmlformats.org/officeDocument/2006/relationships/image" Target="../media/image15.bin"/></Relationships>
</file>

<file path=ppt/slides/_rels/slide5.xml.rels><?xml version="1.0" encoding="UTF-8" standalone="yes"?>
<Relationships xmlns="http://schemas.openxmlformats.org/package/2006/relationships"><Relationship Id="rId3" Type="http://schemas.openxmlformats.org/officeDocument/2006/relationships/customXml" Target="../../customXml/item15.xml"/><Relationship Id="rId7" Type="http://schemas.openxmlformats.org/officeDocument/2006/relationships/image" Target="../media/image4.png"/><Relationship Id="rId2" Type="http://schemas.openxmlformats.org/officeDocument/2006/relationships/customXml" Target="../../customXml/item1.xml"/><Relationship Id="rId1" Type="http://schemas.openxmlformats.org/officeDocument/2006/relationships/tags" Target="../tags/tag5.xml"/><Relationship Id="rId6" Type="http://schemas.openxmlformats.org/officeDocument/2006/relationships/notesSlide" Target="../notesSlides/notesSlide3.xml"/><Relationship Id="rId5" Type="http://schemas.openxmlformats.org/officeDocument/2006/relationships/slideLayout" Target="../slideLayouts/slideLayout9.xml"/><Relationship Id="rId4" Type="http://schemas.openxmlformats.org/officeDocument/2006/relationships/tags" Target="../tags/tag6.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6.png"/><Relationship Id="rId4" Type="http://schemas.openxmlformats.org/officeDocument/2006/relationships/notesSlide" Target="../notesSlides/notesSlide43.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5.jfif"/><Relationship Id="rId4" Type="http://schemas.openxmlformats.org/officeDocument/2006/relationships/notesSlide" Target="../notesSlides/notesSlide44.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45.xml"/><Relationship Id="rId1" Type="http://schemas.openxmlformats.org/officeDocument/2006/relationships/slideLayout" Target="../slideLayouts/slideLayout14.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3" Type="http://schemas.openxmlformats.org/officeDocument/2006/relationships/customXml" Target="../../customXml/item12.xml"/><Relationship Id="rId7" Type="http://schemas.openxmlformats.org/officeDocument/2006/relationships/image" Target="../media/image4.png"/><Relationship Id="rId2" Type="http://schemas.openxmlformats.org/officeDocument/2006/relationships/customXml" Target="../../customXml/item5.xml"/><Relationship Id="rId1" Type="http://schemas.openxmlformats.org/officeDocument/2006/relationships/tags" Target="../tags/tag32.xml"/><Relationship Id="rId6" Type="http://schemas.openxmlformats.org/officeDocument/2006/relationships/notesSlide" Target="../notesSlides/notesSlide46.xml"/><Relationship Id="rId5" Type="http://schemas.openxmlformats.org/officeDocument/2006/relationships/slideLayout" Target="../slideLayouts/slideLayout9.xml"/><Relationship Id="rId4" Type="http://schemas.openxmlformats.org/officeDocument/2006/relationships/tags" Target="../tags/tag33.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26.xml"/><Relationship Id="rId7" Type="http://schemas.microsoft.com/office/2007/relationships/diagramDrawing" Target="../diagrams/drawing26.xml"/><Relationship Id="rId2" Type="http://schemas.openxmlformats.org/officeDocument/2006/relationships/notesSlide" Target="../notesSlides/notesSlide47.xml"/><Relationship Id="rId1" Type="http://schemas.openxmlformats.org/officeDocument/2006/relationships/slideLayout" Target="../slideLayouts/slideLayout8.xml"/><Relationship Id="rId6" Type="http://schemas.openxmlformats.org/officeDocument/2006/relationships/diagramColors" Target="../diagrams/colors26.xml"/><Relationship Id="rId5" Type="http://schemas.openxmlformats.org/officeDocument/2006/relationships/diagramQuickStyle" Target="../diagrams/quickStyle26.xml"/><Relationship Id="rId4" Type="http://schemas.openxmlformats.org/officeDocument/2006/relationships/diagramLayout" Target="../diagrams/layout26.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27.xml"/><Relationship Id="rId7" Type="http://schemas.microsoft.com/office/2007/relationships/diagramDrawing" Target="../diagrams/drawing27.xml"/><Relationship Id="rId2" Type="http://schemas.openxmlformats.org/officeDocument/2006/relationships/notesSlide" Target="../notesSlides/notesSlide48.xml"/><Relationship Id="rId1" Type="http://schemas.openxmlformats.org/officeDocument/2006/relationships/slideLayout" Target="../slideLayouts/slideLayout8.xml"/><Relationship Id="rId6" Type="http://schemas.openxmlformats.org/officeDocument/2006/relationships/diagramColors" Target="../diagrams/colors27.xml"/><Relationship Id="rId5" Type="http://schemas.openxmlformats.org/officeDocument/2006/relationships/diagramQuickStyle" Target="../diagrams/quickStyle27.xml"/><Relationship Id="rId4" Type="http://schemas.openxmlformats.org/officeDocument/2006/relationships/diagramLayout" Target="../diagrams/layout27.xml"/></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28.xml"/><Relationship Id="rId7" Type="http://schemas.microsoft.com/office/2007/relationships/diagramDrawing" Target="../diagrams/drawing28.xml"/><Relationship Id="rId2" Type="http://schemas.openxmlformats.org/officeDocument/2006/relationships/notesSlide" Target="../notesSlides/notesSlide49.xml"/><Relationship Id="rId1" Type="http://schemas.openxmlformats.org/officeDocument/2006/relationships/slideLayout" Target="../slideLayouts/slideLayout8.xml"/><Relationship Id="rId6" Type="http://schemas.openxmlformats.org/officeDocument/2006/relationships/diagramColors" Target="../diagrams/colors28.xml"/><Relationship Id="rId5" Type="http://schemas.openxmlformats.org/officeDocument/2006/relationships/diagramQuickStyle" Target="../diagrams/quickStyle28.xml"/><Relationship Id="rId4" Type="http://schemas.openxmlformats.org/officeDocument/2006/relationships/diagramLayout" Target="../diagrams/layout2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20.xml"/><Relationship Id="rId1" Type="http://schemas.openxmlformats.org/officeDocument/2006/relationships/tags" Target="../tags/tag34.xml"/><Relationship Id="rId4" Type="http://schemas.openxmlformats.org/officeDocument/2006/relationships/image" Target="../media/image15.bin"/></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5.jfif"/><Relationship Id="rId4" Type="http://schemas.openxmlformats.org/officeDocument/2006/relationships/notesSlide" Target="../notesSlides/notesSlide52.xml"/></Relationships>
</file>

<file path=ppt/slides/_rels/slide61.xml.rels><?xml version="1.0" encoding="UTF-8" standalone="yes"?>
<Relationships xmlns="http://schemas.openxmlformats.org/package/2006/relationships"><Relationship Id="rId3" Type="http://schemas.openxmlformats.org/officeDocument/2006/relationships/diagramLayout" Target="../diagrams/layout29.xml"/><Relationship Id="rId2" Type="http://schemas.openxmlformats.org/officeDocument/2006/relationships/diagramData" Target="../diagrams/data29.xml"/><Relationship Id="rId1" Type="http://schemas.openxmlformats.org/officeDocument/2006/relationships/slideLayout" Target="../slideLayouts/slideLayout36.xml"/><Relationship Id="rId6" Type="http://schemas.microsoft.com/office/2007/relationships/diagramDrawing" Target="../diagrams/drawing29.xml"/><Relationship Id="rId5" Type="http://schemas.openxmlformats.org/officeDocument/2006/relationships/diagramColors" Target="../diagrams/colors29.xml"/><Relationship Id="rId4" Type="http://schemas.openxmlformats.org/officeDocument/2006/relationships/diagramQuickStyle" Target="../diagrams/quickStyle2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jfif"/><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Monitoring and Tuning Azure SQL Database</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5</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grpSp>
        <p:nvGrpSpPr>
          <p:cNvPr id="7" name="Group 6" descr="Azure SQL Database">
            <a:extLst>
              <a:ext uri="{FF2B5EF4-FFF2-40B4-BE49-F238E27FC236}">
                <a16:creationId xmlns:a16="http://schemas.microsoft.com/office/drawing/2014/main" id="{120C7642-2C00-4857-ACC4-6A1DC528E0E0}"/>
              </a:ext>
            </a:extLst>
          </p:cNvPr>
          <p:cNvGrpSpPr/>
          <p:nvPr/>
        </p:nvGrpSpPr>
        <p:grpSpPr>
          <a:xfrm>
            <a:off x="8637150" y="2546372"/>
            <a:ext cx="727319" cy="990490"/>
            <a:chOff x="6538960" y="5922128"/>
            <a:chExt cx="174418" cy="231818"/>
          </a:xfrm>
        </p:grpSpPr>
        <p:sp>
          <p:nvSpPr>
            <p:cNvPr id="8" name="Freeform: Shape 7">
              <a:extLst>
                <a:ext uri="{FF2B5EF4-FFF2-40B4-BE49-F238E27FC236}">
                  <a16:creationId xmlns:a16="http://schemas.microsoft.com/office/drawing/2014/main" id="{96B3B4AD-7EB1-40D4-B526-F05230AE1FD6}"/>
                </a:ext>
              </a:extLst>
            </p:cNvPr>
            <p:cNvSpPr/>
            <p:nvPr/>
          </p:nvSpPr>
          <p:spPr>
            <a:xfrm>
              <a:off x="6538960" y="5954027"/>
              <a:ext cx="87199" cy="199919"/>
            </a:xfrm>
            <a:custGeom>
              <a:avLst/>
              <a:gdLst>
                <a:gd name="connsiteX0" fmla="*/ 0 w 87199"/>
                <a:gd name="connsiteY0" fmla="*/ 0 h 199919"/>
                <a:gd name="connsiteX1" fmla="*/ 0 w 87199"/>
                <a:gd name="connsiteY1" fmla="*/ 168018 h 199919"/>
                <a:gd name="connsiteX2" fmla="*/ 87200 w 87199"/>
                <a:gd name="connsiteY2" fmla="*/ 199919 h 199919"/>
                <a:gd name="connsiteX3" fmla="*/ 87200 w 87199"/>
                <a:gd name="connsiteY3" fmla="*/ 0 h 199919"/>
                <a:gd name="connsiteX4" fmla="*/ 0 w 87199"/>
                <a:gd name="connsiteY4" fmla="*/ 0 h 19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99" h="199919">
                  <a:moveTo>
                    <a:pt x="0" y="0"/>
                  </a:moveTo>
                  <a:lnTo>
                    <a:pt x="0" y="168018"/>
                  </a:lnTo>
                  <a:cubicBezTo>
                    <a:pt x="0" y="185032"/>
                    <a:pt x="39346" y="199919"/>
                    <a:pt x="87200" y="199919"/>
                  </a:cubicBezTo>
                  <a:lnTo>
                    <a:pt x="87200" y="0"/>
                  </a:lnTo>
                  <a:lnTo>
                    <a:pt x="0" y="0"/>
                  </a:lnTo>
                  <a:close/>
                </a:path>
              </a:pathLst>
            </a:custGeom>
            <a:solidFill>
              <a:srgbClr val="3999C6"/>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497A4455-761F-48E7-BBFC-6D88E149EF58}"/>
                </a:ext>
              </a:extLst>
            </p:cNvPr>
            <p:cNvSpPr/>
            <p:nvPr/>
          </p:nvSpPr>
          <p:spPr>
            <a:xfrm>
              <a:off x="6625116" y="5954027"/>
              <a:ext cx="88262" cy="199919"/>
            </a:xfrm>
            <a:custGeom>
              <a:avLst/>
              <a:gdLst>
                <a:gd name="connsiteX0" fmla="*/ 0 w 88262"/>
                <a:gd name="connsiteY0" fmla="*/ 199919 h 199919"/>
                <a:gd name="connsiteX1" fmla="*/ 1063 w 88262"/>
                <a:gd name="connsiteY1" fmla="*/ 199919 h 199919"/>
                <a:gd name="connsiteX2" fmla="*/ 88262 w 88262"/>
                <a:gd name="connsiteY2" fmla="*/ 168018 h 199919"/>
                <a:gd name="connsiteX3" fmla="*/ 88262 w 88262"/>
                <a:gd name="connsiteY3" fmla="*/ 0 h 199919"/>
                <a:gd name="connsiteX4" fmla="*/ 0 w 88262"/>
                <a:gd name="connsiteY4" fmla="*/ 0 h 199919"/>
                <a:gd name="connsiteX5" fmla="*/ 0 w 88262"/>
                <a:gd name="connsiteY5" fmla="*/ 199919 h 19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2" h="199919">
                  <a:moveTo>
                    <a:pt x="0" y="199919"/>
                  </a:moveTo>
                  <a:lnTo>
                    <a:pt x="1063" y="199919"/>
                  </a:lnTo>
                  <a:cubicBezTo>
                    <a:pt x="48917" y="199919"/>
                    <a:pt x="88262" y="185032"/>
                    <a:pt x="88262" y="168018"/>
                  </a:cubicBezTo>
                  <a:lnTo>
                    <a:pt x="88262" y="0"/>
                  </a:lnTo>
                  <a:lnTo>
                    <a:pt x="0" y="0"/>
                  </a:lnTo>
                  <a:lnTo>
                    <a:pt x="0" y="199919"/>
                  </a:lnTo>
                  <a:close/>
                </a:path>
              </a:pathLst>
            </a:custGeom>
            <a:solidFill>
              <a:srgbClr val="5AB4D9"/>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A8B4E049-EAF9-4DA1-8A99-9BD52B98ED33}"/>
                </a:ext>
              </a:extLst>
            </p:cNvPr>
            <p:cNvSpPr/>
            <p:nvPr/>
          </p:nvSpPr>
          <p:spPr>
            <a:xfrm>
              <a:off x="6538960" y="5922128"/>
              <a:ext cx="174398" cy="63804"/>
            </a:xfrm>
            <a:custGeom>
              <a:avLst/>
              <a:gdLst>
                <a:gd name="connsiteX0" fmla="*/ 174398 w 174398"/>
                <a:gd name="connsiteY0" fmla="*/ 31902 h 63804"/>
                <a:gd name="connsiteX1" fmla="*/ 87200 w 174398"/>
                <a:gd name="connsiteY1" fmla="*/ 63805 h 63804"/>
                <a:gd name="connsiteX2" fmla="*/ 0 w 174398"/>
                <a:gd name="connsiteY2" fmla="*/ 31902 h 63804"/>
                <a:gd name="connsiteX3" fmla="*/ 87200 w 174398"/>
                <a:gd name="connsiteY3" fmla="*/ 0 h 63804"/>
                <a:gd name="connsiteX4" fmla="*/ 174398 w 174398"/>
                <a:gd name="connsiteY4" fmla="*/ 31902 h 63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398" h="63804">
                  <a:moveTo>
                    <a:pt x="174398" y="31902"/>
                  </a:moveTo>
                  <a:cubicBezTo>
                    <a:pt x="174398" y="48917"/>
                    <a:pt x="135053" y="63805"/>
                    <a:pt x="87200" y="63805"/>
                  </a:cubicBezTo>
                  <a:cubicBezTo>
                    <a:pt x="39346" y="63805"/>
                    <a:pt x="0" y="48917"/>
                    <a:pt x="0" y="31902"/>
                  </a:cubicBezTo>
                  <a:cubicBezTo>
                    <a:pt x="0" y="14888"/>
                    <a:pt x="39346" y="0"/>
                    <a:pt x="87200" y="0"/>
                  </a:cubicBezTo>
                  <a:cubicBezTo>
                    <a:pt x="135053" y="0"/>
                    <a:pt x="174398" y="13825"/>
                    <a:pt x="174398" y="31902"/>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25E31B17-AE3F-424A-9E83-C7764B562857}"/>
                </a:ext>
              </a:extLst>
            </p:cNvPr>
            <p:cNvSpPr/>
            <p:nvPr/>
          </p:nvSpPr>
          <p:spPr>
            <a:xfrm>
              <a:off x="6557052" y="5930628"/>
              <a:ext cx="138242" cy="42536"/>
            </a:xfrm>
            <a:custGeom>
              <a:avLst/>
              <a:gdLst>
                <a:gd name="connsiteX0" fmla="*/ 138243 w 138242"/>
                <a:gd name="connsiteY0" fmla="*/ 21268 h 42536"/>
                <a:gd name="connsiteX1" fmla="*/ 69122 w 138242"/>
                <a:gd name="connsiteY1" fmla="*/ 42536 h 42536"/>
                <a:gd name="connsiteX2" fmla="*/ 0 w 138242"/>
                <a:gd name="connsiteY2" fmla="*/ 21268 h 42536"/>
                <a:gd name="connsiteX3" fmla="*/ 69122 w 138242"/>
                <a:gd name="connsiteY3" fmla="*/ 0 h 42536"/>
                <a:gd name="connsiteX4" fmla="*/ 138243 w 138242"/>
                <a:gd name="connsiteY4" fmla="*/ 21268 h 4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242" h="42536">
                  <a:moveTo>
                    <a:pt x="138243" y="21268"/>
                  </a:moveTo>
                  <a:cubicBezTo>
                    <a:pt x="138243" y="32966"/>
                    <a:pt x="107404" y="42536"/>
                    <a:pt x="69122" y="42536"/>
                  </a:cubicBezTo>
                  <a:cubicBezTo>
                    <a:pt x="30839" y="42536"/>
                    <a:pt x="0" y="32966"/>
                    <a:pt x="0" y="21268"/>
                  </a:cubicBezTo>
                  <a:cubicBezTo>
                    <a:pt x="0" y="9570"/>
                    <a:pt x="30839" y="0"/>
                    <a:pt x="69122" y="0"/>
                  </a:cubicBezTo>
                  <a:cubicBezTo>
                    <a:pt x="107404" y="0"/>
                    <a:pt x="138243" y="9570"/>
                    <a:pt x="138243" y="21268"/>
                  </a:cubicBezTo>
                  <a:close/>
                </a:path>
              </a:pathLst>
            </a:custGeom>
            <a:solidFill>
              <a:srgbClr val="7FBB42"/>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28E8E12D-7BC9-4D87-AA93-359E79DB19C2}"/>
                </a:ext>
              </a:extLst>
            </p:cNvPr>
            <p:cNvSpPr/>
            <p:nvPr/>
          </p:nvSpPr>
          <p:spPr>
            <a:xfrm>
              <a:off x="6558110" y="5930628"/>
              <a:ext cx="138242" cy="34028"/>
            </a:xfrm>
            <a:custGeom>
              <a:avLst/>
              <a:gdLst>
                <a:gd name="connsiteX0" fmla="*/ 123355 w 138242"/>
                <a:gd name="connsiteY0" fmla="*/ 34029 h 34028"/>
                <a:gd name="connsiteX1" fmla="*/ 138243 w 138242"/>
                <a:gd name="connsiteY1" fmla="*/ 21268 h 34028"/>
                <a:gd name="connsiteX2" fmla="*/ 69121 w 138242"/>
                <a:gd name="connsiteY2" fmla="*/ 0 h 34028"/>
                <a:gd name="connsiteX3" fmla="*/ 0 w 138242"/>
                <a:gd name="connsiteY3" fmla="*/ 20205 h 34028"/>
                <a:gd name="connsiteX4" fmla="*/ 13825 w 138242"/>
                <a:gd name="connsiteY4" fmla="*/ 32966 h 34028"/>
                <a:gd name="connsiteX5" fmla="*/ 69121 w 138242"/>
                <a:gd name="connsiteY5" fmla="*/ 24458 h 34028"/>
                <a:gd name="connsiteX6" fmla="*/ 123355 w 138242"/>
                <a:gd name="connsiteY6" fmla="*/ 34029 h 3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42" h="34028">
                  <a:moveTo>
                    <a:pt x="123355" y="34029"/>
                  </a:moveTo>
                  <a:cubicBezTo>
                    <a:pt x="131862" y="30839"/>
                    <a:pt x="138243" y="25522"/>
                    <a:pt x="138243" y="21268"/>
                  </a:cubicBezTo>
                  <a:cubicBezTo>
                    <a:pt x="138243" y="9570"/>
                    <a:pt x="107404" y="0"/>
                    <a:pt x="69121" y="0"/>
                  </a:cubicBezTo>
                  <a:cubicBezTo>
                    <a:pt x="30839" y="0"/>
                    <a:pt x="0" y="8508"/>
                    <a:pt x="0" y="20205"/>
                  </a:cubicBezTo>
                  <a:cubicBezTo>
                    <a:pt x="0" y="25522"/>
                    <a:pt x="5317" y="29775"/>
                    <a:pt x="13825" y="32966"/>
                  </a:cubicBezTo>
                  <a:cubicBezTo>
                    <a:pt x="26585" y="27648"/>
                    <a:pt x="46790" y="24458"/>
                    <a:pt x="69121" y="24458"/>
                  </a:cubicBezTo>
                  <a:cubicBezTo>
                    <a:pt x="90389" y="25522"/>
                    <a:pt x="110595" y="28712"/>
                    <a:pt x="123355" y="34029"/>
                  </a:cubicBezTo>
                  <a:close/>
                </a:path>
              </a:pathLst>
            </a:custGeom>
            <a:solidFill>
              <a:srgbClr val="B8D433"/>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34E8E54C-1E23-4C02-BB88-4CF0A473EA28}"/>
                </a:ext>
              </a:extLst>
            </p:cNvPr>
            <p:cNvSpPr/>
            <p:nvPr/>
          </p:nvSpPr>
          <p:spPr>
            <a:xfrm>
              <a:off x="6560225" y="6021032"/>
              <a:ext cx="37219" cy="55297"/>
            </a:xfrm>
            <a:custGeom>
              <a:avLst/>
              <a:gdLst>
                <a:gd name="connsiteX0" fmla="*/ 0 w 37219"/>
                <a:gd name="connsiteY0" fmla="*/ 53171 h 55297"/>
                <a:gd name="connsiteX1" fmla="*/ 0 w 37219"/>
                <a:gd name="connsiteY1" fmla="*/ 41474 h 55297"/>
                <a:gd name="connsiteX2" fmla="*/ 6380 w 37219"/>
                <a:gd name="connsiteY2" fmla="*/ 45727 h 55297"/>
                <a:gd name="connsiteX3" fmla="*/ 13825 w 37219"/>
                <a:gd name="connsiteY3" fmla="*/ 46791 h 55297"/>
                <a:gd name="connsiteX4" fmla="*/ 18078 w 37219"/>
                <a:gd name="connsiteY4" fmla="*/ 45727 h 55297"/>
                <a:gd name="connsiteX5" fmla="*/ 21269 w 37219"/>
                <a:gd name="connsiteY5" fmla="*/ 44663 h 55297"/>
                <a:gd name="connsiteX6" fmla="*/ 22332 w 37219"/>
                <a:gd name="connsiteY6" fmla="*/ 42536 h 55297"/>
                <a:gd name="connsiteX7" fmla="*/ 23396 w 37219"/>
                <a:gd name="connsiteY7" fmla="*/ 40410 h 55297"/>
                <a:gd name="connsiteX8" fmla="*/ 22332 w 37219"/>
                <a:gd name="connsiteY8" fmla="*/ 37219 h 55297"/>
                <a:gd name="connsiteX9" fmla="*/ 20205 w 37219"/>
                <a:gd name="connsiteY9" fmla="*/ 35093 h 55297"/>
                <a:gd name="connsiteX10" fmla="*/ 17015 w 37219"/>
                <a:gd name="connsiteY10" fmla="*/ 32966 h 55297"/>
                <a:gd name="connsiteX11" fmla="*/ 12761 w 37219"/>
                <a:gd name="connsiteY11" fmla="*/ 30839 h 55297"/>
                <a:gd name="connsiteX12" fmla="*/ 3191 w 37219"/>
                <a:gd name="connsiteY12" fmla="*/ 24458 h 55297"/>
                <a:gd name="connsiteX13" fmla="*/ 0 w 37219"/>
                <a:gd name="connsiteY13" fmla="*/ 15952 h 55297"/>
                <a:gd name="connsiteX14" fmla="*/ 1064 w 37219"/>
                <a:gd name="connsiteY14" fmla="*/ 9571 h 55297"/>
                <a:gd name="connsiteX15" fmla="*/ 5318 w 37219"/>
                <a:gd name="connsiteY15" fmla="*/ 4254 h 55297"/>
                <a:gd name="connsiteX16" fmla="*/ 11698 w 37219"/>
                <a:gd name="connsiteY16" fmla="*/ 1064 h 55297"/>
                <a:gd name="connsiteX17" fmla="*/ 20205 w 37219"/>
                <a:gd name="connsiteY17" fmla="*/ 0 h 55297"/>
                <a:gd name="connsiteX18" fmla="*/ 27649 w 37219"/>
                <a:gd name="connsiteY18" fmla="*/ 1064 h 55297"/>
                <a:gd name="connsiteX19" fmla="*/ 34030 w 37219"/>
                <a:gd name="connsiteY19" fmla="*/ 2127 h 55297"/>
                <a:gd name="connsiteX20" fmla="*/ 34030 w 37219"/>
                <a:gd name="connsiteY20" fmla="*/ 12761 h 55297"/>
                <a:gd name="connsiteX21" fmla="*/ 30839 w 37219"/>
                <a:gd name="connsiteY21" fmla="*/ 11697 h 55297"/>
                <a:gd name="connsiteX22" fmla="*/ 27649 w 37219"/>
                <a:gd name="connsiteY22" fmla="*/ 10635 h 55297"/>
                <a:gd name="connsiteX23" fmla="*/ 24458 w 37219"/>
                <a:gd name="connsiteY23" fmla="*/ 9571 h 55297"/>
                <a:gd name="connsiteX24" fmla="*/ 21269 w 37219"/>
                <a:gd name="connsiteY24" fmla="*/ 9571 h 55297"/>
                <a:gd name="connsiteX25" fmla="*/ 18078 w 37219"/>
                <a:gd name="connsiteY25" fmla="*/ 9571 h 55297"/>
                <a:gd name="connsiteX26" fmla="*/ 15952 w 37219"/>
                <a:gd name="connsiteY26" fmla="*/ 10635 h 55297"/>
                <a:gd name="connsiteX27" fmla="*/ 13825 w 37219"/>
                <a:gd name="connsiteY27" fmla="*/ 11697 h 55297"/>
                <a:gd name="connsiteX28" fmla="*/ 12761 w 37219"/>
                <a:gd name="connsiteY28" fmla="*/ 13825 h 55297"/>
                <a:gd name="connsiteX29" fmla="*/ 13825 w 37219"/>
                <a:gd name="connsiteY29" fmla="*/ 15952 h 55297"/>
                <a:gd name="connsiteX30" fmla="*/ 15952 w 37219"/>
                <a:gd name="connsiteY30" fmla="*/ 18078 h 55297"/>
                <a:gd name="connsiteX31" fmla="*/ 19141 w 37219"/>
                <a:gd name="connsiteY31" fmla="*/ 20205 h 55297"/>
                <a:gd name="connsiteX32" fmla="*/ 23396 w 37219"/>
                <a:gd name="connsiteY32" fmla="*/ 22332 h 55297"/>
                <a:gd name="connsiteX33" fmla="*/ 28713 w 37219"/>
                <a:gd name="connsiteY33" fmla="*/ 25522 h 55297"/>
                <a:gd name="connsiteX34" fmla="*/ 32966 w 37219"/>
                <a:gd name="connsiteY34" fmla="*/ 28713 h 55297"/>
                <a:gd name="connsiteX35" fmla="*/ 36156 w 37219"/>
                <a:gd name="connsiteY35" fmla="*/ 32966 h 55297"/>
                <a:gd name="connsiteX36" fmla="*/ 37219 w 37219"/>
                <a:gd name="connsiteY36" fmla="*/ 38283 h 55297"/>
                <a:gd name="connsiteX37" fmla="*/ 36156 w 37219"/>
                <a:gd name="connsiteY37" fmla="*/ 45727 h 55297"/>
                <a:gd name="connsiteX38" fmla="*/ 31902 w 37219"/>
                <a:gd name="connsiteY38" fmla="*/ 51044 h 55297"/>
                <a:gd name="connsiteX39" fmla="*/ 24458 w 37219"/>
                <a:gd name="connsiteY39" fmla="*/ 54234 h 55297"/>
                <a:gd name="connsiteX40" fmla="*/ 17015 w 37219"/>
                <a:gd name="connsiteY40" fmla="*/ 55297 h 55297"/>
                <a:gd name="connsiteX41" fmla="*/ 8508 w 37219"/>
                <a:gd name="connsiteY41" fmla="*/ 54234 h 55297"/>
                <a:gd name="connsiteX42" fmla="*/ 0 w 37219"/>
                <a:gd name="connsiteY42" fmla="*/ 53171 h 5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7219" h="55297">
                  <a:moveTo>
                    <a:pt x="0" y="53171"/>
                  </a:moveTo>
                  <a:lnTo>
                    <a:pt x="0" y="41474"/>
                  </a:lnTo>
                  <a:cubicBezTo>
                    <a:pt x="2127" y="43600"/>
                    <a:pt x="4254" y="44663"/>
                    <a:pt x="6380" y="45727"/>
                  </a:cubicBezTo>
                  <a:cubicBezTo>
                    <a:pt x="9571" y="46791"/>
                    <a:pt x="11697" y="46791"/>
                    <a:pt x="13825" y="46791"/>
                  </a:cubicBezTo>
                  <a:cubicBezTo>
                    <a:pt x="14888" y="46791"/>
                    <a:pt x="15952" y="46791"/>
                    <a:pt x="18078" y="45727"/>
                  </a:cubicBezTo>
                  <a:cubicBezTo>
                    <a:pt x="19141" y="45727"/>
                    <a:pt x="20205" y="44663"/>
                    <a:pt x="21269" y="44663"/>
                  </a:cubicBezTo>
                  <a:cubicBezTo>
                    <a:pt x="22332" y="43600"/>
                    <a:pt x="22332" y="43600"/>
                    <a:pt x="22332" y="42536"/>
                  </a:cubicBezTo>
                  <a:cubicBezTo>
                    <a:pt x="22332" y="41474"/>
                    <a:pt x="23396" y="41474"/>
                    <a:pt x="23396" y="40410"/>
                  </a:cubicBezTo>
                  <a:cubicBezTo>
                    <a:pt x="23396" y="39346"/>
                    <a:pt x="23396" y="38283"/>
                    <a:pt x="22332" y="37219"/>
                  </a:cubicBezTo>
                  <a:cubicBezTo>
                    <a:pt x="21269" y="36156"/>
                    <a:pt x="21269" y="36156"/>
                    <a:pt x="20205" y="35093"/>
                  </a:cubicBezTo>
                  <a:cubicBezTo>
                    <a:pt x="19141" y="34030"/>
                    <a:pt x="18078" y="34030"/>
                    <a:pt x="17015" y="32966"/>
                  </a:cubicBezTo>
                  <a:cubicBezTo>
                    <a:pt x="15952" y="31902"/>
                    <a:pt x="14888" y="31902"/>
                    <a:pt x="12761" y="30839"/>
                  </a:cubicBezTo>
                  <a:cubicBezTo>
                    <a:pt x="8508" y="28713"/>
                    <a:pt x="5318" y="26586"/>
                    <a:pt x="3191" y="24458"/>
                  </a:cubicBezTo>
                  <a:cubicBezTo>
                    <a:pt x="1064" y="21269"/>
                    <a:pt x="0" y="19141"/>
                    <a:pt x="0" y="15952"/>
                  </a:cubicBezTo>
                  <a:cubicBezTo>
                    <a:pt x="0" y="12761"/>
                    <a:pt x="1064" y="10635"/>
                    <a:pt x="1064" y="9571"/>
                  </a:cubicBezTo>
                  <a:cubicBezTo>
                    <a:pt x="2127" y="7444"/>
                    <a:pt x="4254" y="6380"/>
                    <a:pt x="5318" y="4254"/>
                  </a:cubicBezTo>
                  <a:cubicBezTo>
                    <a:pt x="7444" y="3191"/>
                    <a:pt x="9571" y="2127"/>
                    <a:pt x="11698" y="1064"/>
                  </a:cubicBezTo>
                  <a:cubicBezTo>
                    <a:pt x="14888" y="0"/>
                    <a:pt x="17015" y="0"/>
                    <a:pt x="20205" y="0"/>
                  </a:cubicBezTo>
                  <a:cubicBezTo>
                    <a:pt x="23396" y="0"/>
                    <a:pt x="25522" y="0"/>
                    <a:pt x="27649" y="1064"/>
                  </a:cubicBezTo>
                  <a:cubicBezTo>
                    <a:pt x="29776" y="1064"/>
                    <a:pt x="31902" y="2127"/>
                    <a:pt x="34030" y="2127"/>
                  </a:cubicBezTo>
                  <a:lnTo>
                    <a:pt x="34030" y="12761"/>
                  </a:lnTo>
                  <a:cubicBezTo>
                    <a:pt x="32966" y="11697"/>
                    <a:pt x="31902" y="11697"/>
                    <a:pt x="30839" y="11697"/>
                  </a:cubicBezTo>
                  <a:cubicBezTo>
                    <a:pt x="29776" y="10635"/>
                    <a:pt x="28713" y="10635"/>
                    <a:pt x="27649" y="10635"/>
                  </a:cubicBezTo>
                  <a:cubicBezTo>
                    <a:pt x="26586" y="10635"/>
                    <a:pt x="25522" y="9571"/>
                    <a:pt x="24458" y="9571"/>
                  </a:cubicBezTo>
                  <a:cubicBezTo>
                    <a:pt x="23396" y="9571"/>
                    <a:pt x="22332" y="9571"/>
                    <a:pt x="21269" y="9571"/>
                  </a:cubicBezTo>
                  <a:cubicBezTo>
                    <a:pt x="20205" y="9571"/>
                    <a:pt x="18078" y="9571"/>
                    <a:pt x="18078" y="9571"/>
                  </a:cubicBezTo>
                  <a:cubicBezTo>
                    <a:pt x="17015" y="9571"/>
                    <a:pt x="15952" y="10635"/>
                    <a:pt x="15952" y="10635"/>
                  </a:cubicBezTo>
                  <a:cubicBezTo>
                    <a:pt x="14888" y="11697"/>
                    <a:pt x="14888" y="11697"/>
                    <a:pt x="13825" y="11697"/>
                  </a:cubicBezTo>
                  <a:cubicBezTo>
                    <a:pt x="12761" y="12761"/>
                    <a:pt x="12761" y="12761"/>
                    <a:pt x="12761" y="13825"/>
                  </a:cubicBezTo>
                  <a:cubicBezTo>
                    <a:pt x="12761" y="14888"/>
                    <a:pt x="12761" y="14888"/>
                    <a:pt x="13825" y="15952"/>
                  </a:cubicBezTo>
                  <a:cubicBezTo>
                    <a:pt x="14888" y="17015"/>
                    <a:pt x="14888" y="17015"/>
                    <a:pt x="15952" y="18078"/>
                  </a:cubicBezTo>
                  <a:cubicBezTo>
                    <a:pt x="17015" y="19141"/>
                    <a:pt x="18078" y="19141"/>
                    <a:pt x="19141" y="20205"/>
                  </a:cubicBezTo>
                  <a:cubicBezTo>
                    <a:pt x="20205" y="21269"/>
                    <a:pt x="22332" y="21269"/>
                    <a:pt x="23396" y="22332"/>
                  </a:cubicBezTo>
                  <a:cubicBezTo>
                    <a:pt x="25522" y="23396"/>
                    <a:pt x="27649" y="24458"/>
                    <a:pt x="28713" y="25522"/>
                  </a:cubicBezTo>
                  <a:cubicBezTo>
                    <a:pt x="30839" y="26586"/>
                    <a:pt x="31902" y="27649"/>
                    <a:pt x="32966" y="28713"/>
                  </a:cubicBezTo>
                  <a:cubicBezTo>
                    <a:pt x="34030" y="29775"/>
                    <a:pt x="35093" y="31902"/>
                    <a:pt x="36156" y="32966"/>
                  </a:cubicBezTo>
                  <a:cubicBezTo>
                    <a:pt x="37219" y="34030"/>
                    <a:pt x="37219" y="36156"/>
                    <a:pt x="37219" y="38283"/>
                  </a:cubicBezTo>
                  <a:cubicBezTo>
                    <a:pt x="37219" y="41474"/>
                    <a:pt x="36156" y="43600"/>
                    <a:pt x="36156" y="45727"/>
                  </a:cubicBezTo>
                  <a:cubicBezTo>
                    <a:pt x="35093" y="47853"/>
                    <a:pt x="32966" y="48917"/>
                    <a:pt x="31902" y="51044"/>
                  </a:cubicBezTo>
                  <a:cubicBezTo>
                    <a:pt x="29776" y="52107"/>
                    <a:pt x="27649" y="53171"/>
                    <a:pt x="24458" y="54234"/>
                  </a:cubicBezTo>
                  <a:cubicBezTo>
                    <a:pt x="21269" y="55297"/>
                    <a:pt x="20205" y="55297"/>
                    <a:pt x="17015" y="55297"/>
                  </a:cubicBezTo>
                  <a:cubicBezTo>
                    <a:pt x="14888" y="55297"/>
                    <a:pt x="11697" y="55297"/>
                    <a:pt x="8508" y="54234"/>
                  </a:cubicBezTo>
                  <a:cubicBezTo>
                    <a:pt x="4254" y="55297"/>
                    <a:pt x="2127" y="54234"/>
                    <a:pt x="0" y="53171"/>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38659ADB-1278-4109-89C9-01FBA8F161DA}"/>
                </a:ext>
              </a:extLst>
            </p:cNvPr>
            <p:cNvSpPr/>
            <p:nvPr/>
          </p:nvSpPr>
          <p:spPr>
            <a:xfrm>
              <a:off x="6601698" y="6023148"/>
              <a:ext cx="56360" cy="62741"/>
            </a:xfrm>
            <a:custGeom>
              <a:avLst/>
              <a:gdLst>
                <a:gd name="connsiteX0" fmla="*/ 25522 w 56360"/>
                <a:gd name="connsiteY0" fmla="*/ 54234 h 62741"/>
                <a:gd name="connsiteX1" fmla="*/ 7444 w 56360"/>
                <a:gd name="connsiteY1" fmla="*/ 46790 h 62741"/>
                <a:gd name="connsiteX2" fmla="*/ 0 w 56360"/>
                <a:gd name="connsiteY2" fmla="*/ 27648 h 62741"/>
                <a:gd name="connsiteX3" fmla="*/ 7444 w 56360"/>
                <a:gd name="connsiteY3" fmla="*/ 7444 h 62741"/>
                <a:gd name="connsiteX4" fmla="*/ 26586 w 56360"/>
                <a:gd name="connsiteY4" fmla="*/ 0 h 62741"/>
                <a:gd name="connsiteX5" fmla="*/ 44663 w 56360"/>
                <a:gd name="connsiteY5" fmla="*/ 7444 h 62741"/>
                <a:gd name="connsiteX6" fmla="*/ 52107 w 56360"/>
                <a:gd name="connsiteY6" fmla="*/ 27648 h 62741"/>
                <a:gd name="connsiteX7" fmla="*/ 44663 w 56360"/>
                <a:gd name="connsiteY7" fmla="*/ 47853 h 62741"/>
                <a:gd name="connsiteX8" fmla="*/ 43600 w 56360"/>
                <a:gd name="connsiteY8" fmla="*/ 48917 h 62741"/>
                <a:gd name="connsiteX9" fmla="*/ 42536 w 56360"/>
                <a:gd name="connsiteY9" fmla="*/ 49980 h 62741"/>
                <a:gd name="connsiteX10" fmla="*/ 56361 w 56360"/>
                <a:gd name="connsiteY10" fmla="*/ 62741 h 62741"/>
                <a:gd name="connsiteX11" fmla="*/ 39346 w 56360"/>
                <a:gd name="connsiteY11" fmla="*/ 62741 h 62741"/>
                <a:gd name="connsiteX12" fmla="*/ 32966 w 56360"/>
                <a:gd name="connsiteY12" fmla="*/ 55297 h 62741"/>
                <a:gd name="connsiteX13" fmla="*/ 25522 w 56360"/>
                <a:gd name="connsiteY13" fmla="*/ 54234 h 62741"/>
                <a:gd name="connsiteX14" fmla="*/ 26586 w 56360"/>
                <a:gd name="connsiteY14" fmla="*/ 9570 h 62741"/>
                <a:gd name="connsiteX15" fmla="*/ 15952 w 56360"/>
                <a:gd name="connsiteY15" fmla="*/ 13825 h 62741"/>
                <a:gd name="connsiteX16" fmla="*/ 12761 w 56360"/>
                <a:gd name="connsiteY16" fmla="*/ 26586 h 62741"/>
                <a:gd name="connsiteX17" fmla="*/ 15952 w 56360"/>
                <a:gd name="connsiteY17" fmla="*/ 39346 h 62741"/>
                <a:gd name="connsiteX18" fmla="*/ 25522 w 56360"/>
                <a:gd name="connsiteY18" fmla="*/ 43600 h 62741"/>
                <a:gd name="connsiteX19" fmla="*/ 35093 w 56360"/>
                <a:gd name="connsiteY19" fmla="*/ 39346 h 62741"/>
                <a:gd name="connsiteX20" fmla="*/ 38283 w 56360"/>
                <a:gd name="connsiteY20" fmla="*/ 26586 h 62741"/>
                <a:gd name="connsiteX21" fmla="*/ 35093 w 56360"/>
                <a:gd name="connsiteY21" fmla="*/ 13825 h 62741"/>
                <a:gd name="connsiteX22" fmla="*/ 26586 w 56360"/>
                <a:gd name="connsiteY22" fmla="*/ 9570 h 6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60" h="62741">
                  <a:moveTo>
                    <a:pt x="25522" y="54234"/>
                  </a:moveTo>
                  <a:cubicBezTo>
                    <a:pt x="18079" y="54234"/>
                    <a:pt x="11698" y="51044"/>
                    <a:pt x="7444" y="46790"/>
                  </a:cubicBezTo>
                  <a:cubicBezTo>
                    <a:pt x="2127" y="42536"/>
                    <a:pt x="0" y="35092"/>
                    <a:pt x="0" y="27648"/>
                  </a:cubicBezTo>
                  <a:cubicBezTo>
                    <a:pt x="0" y="19141"/>
                    <a:pt x="2127" y="12761"/>
                    <a:pt x="7444" y="7444"/>
                  </a:cubicBezTo>
                  <a:cubicBezTo>
                    <a:pt x="11698" y="2127"/>
                    <a:pt x="18079" y="0"/>
                    <a:pt x="26586" y="0"/>
                  </a:cubicBezTo>
                  <a:cubicBezTo>
                    <a:pt x="34030" y="0"/>
                    <a:pt x="40410" y="2127"/>
                    <a:pt x="44663" y="7444"/>
                  </a:cubicBezTo>
                  <a:cubicBezTo>
                    <a:pt x="49980" y="12761"/>
                    <a:pt x="52107" y="19141"/>
                    <a:pt x="52107" y="27648"/>
                  </a:cubicBezTo>
                  <a:cubicBezTo>
                    <a:pt x="52107" y="36156"/>
                    <a:pt x="49980" y="42536"/>
                    <a:pt x="44663" y="47853"/>
                  </a:cubicBezTo>
                  <a:cubicBezTo>
                    <a:pt x="44663" y="47853"/>
                    <a:pt x="44663" y="47853"/>
                    <a:pt x="43600" y="48917"/>
                  </a:cubicBezTo>
                  <a:cubicBezTo>
                    <a:pt x="43600" y="48917"/>
                    <a:pt x="43600" y="48917"/>
                    <a:pt x="42536" y="49980"/>
                  </a:cubicBezTo>
                  <a:lnTo>
                    <a:pt x="56361" y="62741"/>
                  </a:lnTo>
                  <a:lnTo>
                    <a:pt x="39346" y="62741"/>
                  </a:lnTo>
                  <a:lnTo>
                    <a:pt x="32966" y="55297"/>
                  </a:lnTo>
                  <a:cubicBezTo>
                    <a:pt x="30839" y="54234"/>
                    <a:pt x="28713" y="54234"/>
                    <a:pt x="25522" y="54234"/>
                  </a:cubicBezTo>
                  <a:close/>
                  <a:moveTo>
                    <a:pt x="26586" y="9570"/>
                  </a:moveTo>
                  <a:cubicBezTo>
                    <a:pt x="22332" y="9570"/>
                    <a:pt x="19141" y="10634"/>
                    <a:pt x="15952" y="13825"/>
                  </a:cubicBezTo>
                  <a:cubicBezTo>
                    <a:pt x="12761" y="17014"/>
                    <a:pt x="12761" y="21268"/>
                    <a:pt x="12761" y="26586"/>
                  </a:cubicBezTo>
                  <a:cubicBezTo>
                    <a:pt x="12761" y="31902"/>
                    <a:pt x="13825" y="36156"/>
                    <a:pt x="15952" y="39346"/>
                  </a:cubicBezTo>
                  <a:cubicBezTo>
                    <a:pt x="19141" y="42536"/>
                    <a:pt x="21269" y="43600"/>
                    <a:pt x="25522" y="43600"/>
                  </a:cubicBezTo>
                  <a:cubicBezTo>
                    <a:pt x="29776" y="43600"/>
                    <a:pt x="32966" y="42536"/>
                    <a:pt x="35093" y="39346"/>
                  </a:cubicBezTo>
                  <a:cubicBezTo>
                    <a:pt x="37219" y="36156"/>
                    <a:pt x="38283" y="31902"/>
                    <a:pt x="38283" y="26586"/>
                  </a:cubicBezTo>
                  <a:cubicBezTo>
                    <a:pt x="38283" y="21268"/>
                    <a:pt x="37219" y="17014"/>
                    <a:pt x="35093" y="13825"/>
                  </a:cubicBezTo>
                  <a:cubicBezTo>
                    <a:pt x="34030" y="10634"/>
                    <a:pt x="30839" y="9570"/>
                    <a:pt x="26586" y="957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FC8C3D09-4BF6-490C-9129-1671347F705D}"/>
                </a:ext>
              </a:extLst>
            </p:cNvPr>
            <p:cNvSpPr/>
            <p:nvPr/>
          </p:nvSpPr>
          <p:spPr>
            <a:xfrm>
              <a:off x="6662320" y="6023148"/>
              <a:ext cx="31902" cy="53170"/>
            </a:xfrm>
            <a:custGeom>
              <a:avLst/>
              <a:gdLst>
                <a:gd name="connsiteX0" fmla="*/ 31902 w 31902"/>
                <a:gd name="connsiteY0" fmla="*/ 53170 h 53170"/>
                <a:gd name="connsiteX1" fmla="*/ 0 w 31902"/>
                <a:gd name="connsiteY1" fmla="*/ 53170 h 53170"/>
                <a:gd name="connsiteX2" fmla="*/ 0 w 31902"/>
                <a:gd name="connsiteY2" fmla="*/ 0 h 53170"/>
                <a:gd name="connsiteX3" fmla="*/ 11697 w 31902"/>
                <a:gd name="connsiteY3" fmla="*/ 0 h 53170"/>
                <a:gd name="connsiteX4" fmla="*/ 11697 w 31902"/>
                <a:gd name="connsiteY4" fmla="*/ 43600 h 53170"/>
                <a:gd name="connsiteX5" fmla="*/ 31902 w 31902"/>
                <a:gd name="connsiteY5" fmla="*/ 43600 h 53170"/>
                <a:gd name="connsiteX6" fmla="*/ 31902 w 31902"/>
                <a:gd name="connsiteY6" fmla="*/ 53170 h 53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2" h="53170">
                  <a:moveTo>
                    <a:pt x="31902" y="53170"/>
                  </a:moveTo>
                  <a:lnTo>
                    <a:pt x="0" y="53170"/>
                  </a:lnTo>
                  <a:lnTo>
                    <a:pt x="0" y="0"/>
                  </a:lnTo>
                  <a:lnTo>
                    <a:pt x="11697" y="0"/>
                  </a:lnTo>
                  <a:lnTo>
                    <a:pt x="11697" y="43600"/>
                  </a:lnTo>
                  <a:lnTo>
                    <a:pt x="31902" y="43600"/>
                  </a:lnTo>
                  <a:lnTo>
                    <a:pt x="31902" y="53170"/>
                  </a:ln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6" name="Freeform 60" descr="Azure SQL Database">
            <a:extLst>
              <a:ext uri="{FF2B5EF4-FFF2-40B4-BE49-F238E27FC236}">
                <a16:creationId xmlns:a16="http://schemas.microsoft.com/office/drawing/2014/main" id="{B4942742-FB4A-4AFE-B2EC-11BAD3546E54}"/>
              </a:ext>
            </a:extLst>
          </p:cNvPr>
          <p:cNvSpPr>
            <a:spLocks noChangeAspect="1"/>
          </p:cNvSpPr>
          <p:nvPr/>
        </p:nvSpPr>
        <p:spPr bwMode="auto">
          <a:xfrm>
            <a:off x="9061252" y="3212152"/>
            <a:ext cx="761121" cy="482023"/>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22225"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Know how to troubleshoot the performance of your queries by using Query Performance Insight.</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9DE50-3870-4FD0-8E40-762A88A6F399}"/>
              </a:ext>
            </a:extLst>
          </p:cNvPr>
          <p:cNvSpPr>
            <a:spLocks noGrp="1"/>
          </p:cNvSpPr>
          <p:nvPr>
            <p:ph type="title"/>
          </p:nvPr>
        </p:nvSpPr>
        <p:spPr/>
        <p:txBody>
          <a:bodyPr/>
          <a:lstStyle/>
          <a:p>
            <a:r>
              <a:rPr lang="en-US" dirty="0"/>
              <a:t>Query Performance Insight </a:t>
            </a:r>
          </a:p>
        </p:txBody>
      </p:sp>
      <p:graphicFrame>
        <p:nvGraphicFramePr>
          <p:cNvPr id="10" name="Diagram 9">
            <a:extLst>
              <a:ext uri="{FF2B5EF4-FFF2-40B4-BE49-F238E27FC236}">
                <a16:creationId xmlns:a16="http://schemas.microsoft.com/office/drawing/2014/main" id="{D5EAC6A8-9722-4E31-8B79-B50329DB279B}"/>
              </a:ext>
            </a:extLst>
          </p:cNvPr>
          <p:cNvGraphicFramePr/>
          <p:nvPr>
            <p:extLst>
              <p:ext uri="{D42A27DB-BD31-4B8C-83A1-F6EECF244321}">
                <p14:modId xmlns:p14="http://schemas.microsoft.com/office/powerpoint/2010/main" val="1206208205"/>
              </p:ext>
            </p:extLst>
          </p:nvPr>
        </p:nvGraphicFramePr>
        <p:xfrm>
          <a:off x="655635" y="3873557"/>
          <a:ext cx="2875668" cy="26507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3ACCC232-D855-496E-921D-04B15B99824B}"/>
              </a:ext>
            </a:extLst>
          </p:cNvPr>
          <p:cNvPicPr>
            <a:picLocks noChangeAspect="1"/>
          </p:cNvPicPr>
          <p:nvPr/>
        </p:nvPicPr>
        <p:blipFill>
          <a:blip r:embed="rId8"/>
          <a:stretch>
            <a:fillRect/>
          </a:stretch>
        </p:blipFill>
        <p:spPr>
          <a:xfrm>
            <a:off x="1161388" y="1472865"/>
            <a:ext cx="1837200" cy="1701390"/>
          </a:xfrm>
          <a:prstGeom prst="rect">
            <a:avLst/>
          </a:prstGeom>
          <a:ln>
            <a:noFill/>
          </a:ln>
          <a:effectLst>
            <a:outerShdw blurRad="190500" algn="tl" rotWithShape="0">
              <a:srgbClr val="000000">
                <a:alpha val="70000"/>
              </a:srgbClr>
            </a:outerShdw>
          </a:effectLst>
        </p:spPr>
      </p:pic>
      <p:pic>
        <p:nvPicPr>
          <p:cNvPr id="6" name="Picture 5">
            <a:extLst>
              <a:ext uri="{FF2B5EF4-FFF2-40B4-BE49-F238E27FC236}">
                <a16:creationId xmlns:a16="http://schemas.microsoft.com/office/drawing/2014/main" id="{D47F6E10-BF55-463D-B0D1-3405228B8608}"/>
              </a:ext>
            </a:extLst>
          </p:cNvPr>
          <p:cNvPicPr>
            <a:picLocks noChangeAspect="1"/>
          </p:cNvPicPr>
          <p:nvPr/>
        </p:nvPicPr>
        <p:blipFill>
          <a:blip r:embed="rId9"/>
          <a:stretch>
            <a:fillRect/>
          </a:stretch>
        </p:blipFill>
        <p:spPr>
          <a:xfrm>
            <a:off x="3599311" y="1472865"/>
            <a:ext cx="5693590" cy="3876698"/>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298917CB-7317-4964-958E-375D61944BC5}"/>
              </a:ext>
            </a:extLst>
          </p:cNvPr>
          <p:cNvPicPr>
            <a:picLocks noChangeAspect="1"/>
          </p:cNvPicPr>
          <p:nvPr/>
        </p:nvPicPr>
        <p:blipFill>
          <a:blip r:embed="rId10"/>
          <a:stretch>
            <a:fillRect/>
          </a:stretch>
        </p:blipFill>
        <p:spPr>
          <a:xfrm>
            <a:off x="4559687" y="1816972"/>
            <a:ext cx="5693590" cy="3669428"/>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D1D05198-17EC-49D9-B891-B9C9044BE6BF}"/>
              </a:ext>
            </a:extLst>
          </p:cNvPr>
          <p:cNvPicPr>
            <a:picLocks noChangeAspect="1"/>
          </p:cNvPicPr>
          <p:nvPr/>
        </p:nvPicPr>
        <p:blipFill>
          <a:blip r:embed="rId11"/>
          <a:stretch>
            <a:fillRect/>
          </a:stretch>
        </p:blipFill>
        <p:spPr>
          <a:xfrm>
            <a:off x="5844685" y="2284450"/>
            <a:ext cx="5759687" cy="3982666"/>
          </a:xfrm>
          <a:prstGeom prst="rect">
            <a:avLst/>
          </a:prstGeom>
          <a:ln>
            <a:noFill/>
          </a:ln>
          <a:effectLst>
            <a:outerShdw blurRad="190500" algn="tl" rotWithShape="0">
              <a:srgbClr val="000000">
                <a:alpha val="70000"/>
              </a:srgbClr>
            </a:outerShdw>
          </a:effectLst>
        </p:spPr>
      </p:pic>
      <p:graphicFrame>
        <p:nvGraphicFramePr>
          <p:cNvPr id="11" name="Diagram 10">
            <a:extLst>
              <a:ext uri="{FF2B5EF4-FFF2-40B4-BE49-F238E27FC236}">
                <a16:creationId xmlns:a16="http://schemas.microsoft.com/office/drawing/2014/main" id="{BB2A9627-6D4C-4BB6-8CDD-DF361F1B3158}"/>
              </a:ext>
            </a:extLst>
          </p:cNvPr>
          <p:cNvGraphicFramePr/>
          <p:nvPr>
            <p:extLst>
              <p:ext uri="{D42A27DB-BD31-4B8C-83A1-F6EECF244321}">
                <p14:modId xmlns:p14="http://schemas.microsoft.com/office/powerpoint/2010/main" val="268267989"/>
              </p:ext>
            </p:extLst>
          </p:nvPr>
        </p:nvGraphicFramePr>
        <p:xfrm>
          <a:off x="653724" y="3748495"/>
          <a:ext cx="3013595" cy="250947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2147045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xit"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AsOne/>
      </p:bldGraphic>
      <p:bldGraphic spid="11" grpId="0">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9DE50-3870-4FD0-8E40-762A88A6F399}"/>
              </a:ext>
            </a:extLst>
          </p:cNvPr>
          <p:cNvSpPr>
            <a:spLocks noGrp="1"/>
          </p:cNvSpPr>
          <p:nvPr>
            <p:ph type="title"/>
          </p:nvPr>
        </p:nvSpPr>
        <p:spPr/>
        <p:txBody>
          <a:bodyPr/>
          <a:lstStyle/>
          <a:p>
            <a:r>
              <a:rPr lang="en-US" dirty="0"/>
              <a:t>Viewing individual query details</a:t>
            </a:r>
          </a:p>
        </p:txBody>
      </p:sp>
      <p:graphicFrame>
        <p:nvGraphicFramePr>
          <p:cNvPr id="6" name="Content Placeholder 5">
            <a:extLst>
              <a:ext uri="{FF2B5EF4-FFF2-40B4-BE49-F238E27FC236}">
                <a16:creationId xmlns:a16="http://schemas.microsoft.com/office/drawing/2014/main" id="{B187D2B8-00D1-46F0-B160-E03EE7009F12}"/>
              </a:ext>
            </a:extLst>
          </p:cNvPr>
          <p:cNvGraphicFramePr>
            <a:graphicFrameLocks noGrp="1"/>
          </p:cNvGraphicFramePr>
          <p:nvPr>
            <p:ph sz="quarter" idx="13"/>
            <p:extLst>
              <p:ext uri="{D42A27DB-BD31-4B8C-83A1-F6EECF244321}">
                <p14:modId xmlns:p14="http://schemas.microsoft.com/office/powerpoint/2010/main" val="1004524378"/>
              </p:ext>
            </p:extLst>
          </p:nvPr>
        </p:nvGraphicFramePr>
        <p:xfrm>
          <a:off x="655638" y="1408114"/>
          <a:ext cx="36115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342A64F0-44CE-462B-AF07-B84DD95C6CFB}"/>
              </a:ext>
            </a:extLst>
          </p:cNvPr>
          <p:cNvPicPr>
            <a:picLocks noChangeAspect="1"/>
          </p:cNvPicPr>
          <p:nvPr/>
        </p:nvPicPr>
        <p:blipFill>
          <a:blip r:embed="rId8"/>
          <a:stretch>
            <a:fillRect/>
          </a:stretch>
        </p:blipFill>
        <p:spPr>
          <a:xfrm>
            <a:off x="4812405" y="2819400"/>
            <a:ext cx="6585490" cy="1654365"/>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14064EE2-590E-4305-AF66-31E99D8DD2F3}"/>
              </a:ext>
            </a:extLst>
          </p:cNvPr>
          <p:cNvPicPr>
            <a:picLocks noChangeAspect="1"/>
          </p:cNvPicPr>
          <p:nvPr/>
        </p:nvPicPr>
        <p:blipFill>
          <a:blip r:embed="rId9"/>
          <a:stretch>
            <a:fillRect/>
          </a:stretch>
        </p:blipFill>
        <p:spPr>
          <a:xfrm>
            <a:off x="6324600" y="1413293"/>
            <a:ext cx="4080547" cy="429982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734993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10"/>
                                        <p:tgtEl>
                                          <p:spTgt spid="4"/>
                                        </p:tgtEl>
                                      </p:cBhvr>
                                    </p:animEffect>
                                    <p:set>
                                      <p:cBhvr>
                                        <p:cTn id="12" dur="1" fill="hold">
                                          <p:stCondLst>
                                            <p:cond delay="9"/>
                                          </p:stCondLst>
                                        </p:cTn>
                                        <p:tgtEl>
                                          <p:spTgt spid="4"/>
                                        </p:tgtEl>
                                        <p:attrNameLst>
                                          <p:attrName>style.visibility</p:attrName>
                                        </p:attrNameLst>
                                      </p:cBhvr>
                                      <p:to>
                                        <p:strVal val="hidden"/>
                                      </p:to>
                                    </p:se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9DE50-3870-4FD0-8E40-762A88A6F399}"/>
              </a:ext>
            </a:extLst>
          </p:cNvPr>
          <p:cNvSpPr>
            <a:spLocks noGrp="1"/>
          </p:cNvSpPr>
          <p:nvPr>
            <p:ph type="title"/>
          </p:nvPr>
        </p:nvSpPr>
        <p:spPr/>
        <p:txBody>
          <a:bodyPr/>
          <a:lstStyle/>
          <a:p>
            <a:r>
              <a:rPr lang="en-US" dirty="0"/>
              <a:t>Review top queries per duration</a:t>
            </a:r>
          </a:p>
        </p:txBody>
      </p:sp>
      <p:graphicFrame>
        <p:nvGraphicFramePr>
          <p:cNvPr id="5" name="Content Placeholder 4">
            <a:extLst>
              <a:ext uri="{FF2B5EF4-FFF2-40B4-BE49-F238E27FC236}">
                <a16:creationId xmlns:a16="http://schemas.microsoft.com/office/drawing/2014/main" id="{67E0064F-14FA-4931-A72C-84EF365292B9}"/>
              </a:ext>
            </a:extLst>
          </p:cNvPr>
          <p:cNvGraphicFramePr>
            <a:graphicFrameLocks noGrp="1"/>
          </p:cNvGraphicFramePr>
          <p:nvPr>
            <p:ph sz="quarter" idx="13"/>
            <p:extLst>
              <p:ext uri="{D42A27DB-BD31-4B8C-83A1-F6EECF244321}">
                <p14:modId xmlns:p14="http://schemas.microsoft.com/office/powerpoint/2010/main" val="82347555"/>
              </p:ext>
            </p:extLst>
          </p:nvPr>
        </p:nvGraphicFramePr>
        <p:xfrm>
          <a:off x="655638" y="1408114"/>
          <a:ext cx="56689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9E9EB7E8-B366-49C7-A6FE-20E7361D3403}"/>
              </a:ext>
            </a:extLst>
          </p:cNvPr>
          <p:cNvPicPr>
            <a:picLocks noChangeAspect="1"/>
          </p:cNvPicPr>
          <p:nvPr/>
        </p:nvPicPr>
        <p:blipFill>
          <a:blip r:embed="rId8"/>
          <a:stretch>
            <a:fillRect/>
          </a:stretch>
        </p:blipFill>
        <p:spPr>
          <a:xfrm>
            <a:off x="6629400" y="1981200"/>
            <a:ext cx="4906962" cy="3683322"/>
          </a:xfrm>
          <a:prstGeom prst="rect">
            <a:avLst/>
          </a:prstGeom>
        </p:spPr>
      </p:pic>
    </p:spTree>
    <p:extLst>
      <p:ext uri="{BB962C8B-B14F-4D97-AF65-F5344CB8AC3E}">
        <p14:creationId xmlns:p14="http://schemas.microsoft.com/office/powerpoint/2010/main" val="19208594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9DE50-3870-4FD0-8E40-762A88A6F399}"/>
              </a:ext>
            </a:extLst>
          </p:cNvPr>
          <p:cNvSpPr>
            <a:spLocks noGrp="1"/>
          </p:cNvSpPr>
          <p:nvPr>
            <p:ph type="title"/>
          </p:nvPr>
        </p:nvSpPr>
        <p:spPr/>
        <p:txBody>
          <a:bodyPr/>
          <a:lstStyle/>
          <a:p>
            <a:r>
              <a:rPr lang="en-US" dirty="0"/>
              <a:t>Review top queries per execution count</a:t>
            </a:r>
          </a:p>
        </p:txBody>
      </p:sp>
      <p:pic>
        <p:nvPicPr>
          <p:cNvPr id="4" name="Picture 3">
            <a:extLst>
              <a:ext uri="{FF2B5EF4-FFF2-40B4-BE49-F238E27FC236}">
                <a16:creationId xmlns:a16="http://schemas.microsoft.com/office/drawing/2014/main" id="{532B731F-72F8-4CF3-808D-4B1B52E2047E}"/>
              </a:ext>
            </a:extLst>
          </p:cNvPr>
          <p:cNvPicPr>
            <a:picLocks noChangeAspect="1"/>
          </p:cNvPicPr>
          <p:nvPr/>
        </p:nvPicPr>
        <p:blipFill>
          <a:blip r:embed="rId3"/>
          <a:stretch>
            <a:fillRect/>
          </a:stretch>
        </p:blipFill>
        <p:spPr>
          <a:xfrm>
            <a:off x="6625481" y="1905000"/>
            <a:ext cx="4898002" cy="3918401"/>
          </a:xfrm>
          <a:prstGeom prst="rect">
            <a:avLst/>
          </a:prstGeom>
        </p:spPr>
      </p:pic>
      <p:graphicFrame>
        <p:nvGraphicFramePr>
          <p:cNvPr id="5" name="Content Placeholder 4">
            <a:extLst>
              <a:ext uri="{FF2B5EF4-FFF2-40B4-BE49-F238E27FC236}">
                <a16:creationId xmlns:a16="http://schemas.microsoft.com/office/drawing/2014/main" id="{C35CF6CD-E42C-44A4-897D-C341A518C6E3}"/>
              </a:ext>
            </a:extLst>
          </p:cNvPr>
          <p:cNvGraphicFramePr>
            <a:graphicFrameLocks/>
          </p:cNvGraphicFramePr>
          <p:nvPr>
            <p:extLst>
              <p:ext uri="{D42A27DB-BD31-4B8C-83A1-F6EECF244321}">
                <p14:modId xmlns:p14="http://schemas.microsoft.com/office/powerpoint/2010/main" val="3153750228"/>
              </p:ext>
            </p:extLst>
          </p:nvPr>
        </p:nvGraphicFramePr>
        <p:xfrm>
          <a:off x="655638" y="1408114"/>
          <a:ext cx="5668962"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6829384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9DE50-3870-4FD0-8E40-762A88A6F399}"/>
              </a:ext>
            </a:extLst>
          </p:cNvPr>
          <p:cNvSpPr>
            <a:spLocks noGrp="1"/>
          </p:cNvSpPr>
          <p:nvPr>
            <p:ph type="title"/>
          </p:nvPr>
        </p:nvSpPr>
        <p:spPr/>
        <p:txBody>
          <a:bodyPr/>
          <a:lstStyle/>
          <a:p>
            <a:r>
              <a:rPr lang="en-US" dirty="0"/>
              <a:t>Query Store</a:t>
            </a:r>
          </a:p>
        </p:txBody>
      </p:sp>
      <p:graphicFrame>
        <p:nvGraphicFramePr>
          <p:cNvPr id="5" name="Content Placeholder 4">
            <a:extLst>
              <a:ext uri="{FF2B5EF4-FFF2-40B4-BE49-F238E27FC236}">
                <a16:creationId xmlns:a16="http://schemas.microsoft.com/office/drawing/2014/main" id="{BD98BFF2-94F9-49E0-AF70-E5BAFDA94445}"/>
              </a:ext>
            </a:extLst>
          </p:cNvPr>
          <p:cNvGraphicFramePr>
            <a:graphicFrameLocks noGrp="1"/>
          </p:cNvGraphicFramePr>
          <p:nvPr>
            <p:ph sz="quarter" idx="13"/>
            <p:extLst>
              <p:ext uri="{D42A27DB-BD31-4B8C-83A1-F6EECF244321}">
                <p14:modId xmlns:p14="http://schemas.microsoft.com/office/powerpoint/2010/main" val="3481843317"/>
              </p:ext>
            </p:extLst>
          </p:nvPr>
        </p:nvGraphicFramePr>
        <p:xfrm>
          <a:off x="4419600" y="1219200"/>
          <a:ext cx="7543800"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662BC782-A931-4AF3-BA7C-12C9777B03CD}"/>
              </a:ext>
            </a:extLst>
          </p:cNvPr>
          <p:cNvPicPr>
            <a:picLocks noChangeAspect="1"/>
          </p:cNvPicPr>
          <p:nvPr/>
        </p:nvPicPr>
        <p:blipFill>
          <a:blip r:embed="rId8"/>
          <a:stretch>
            <a:fillRect/>
          </a:stretch>
        </p:blipFill>
        <p:spPr>
          <a:xfrm>
            <a:off x="304800" y="1714500"/>
            <a:ext cx="3884513" cy="3429000"/>
          </a:xfrm>
          <a:prstGeom prst="rect">
            <a:avLst/>
          </a:prstGeom>
        </p:spPr>
      </p:pic>
    </p:spTree>
    <p:extLst>
      <p:ext uri="{BB962C8B-B14F-4D97-AF65-F5344CB8AC3E}">
        <p14:creationId xmlns:p14="http://schemas.microsoft.com/office/powerpoint/2010/main" val="42442681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Query Performance Insight</a:t>
            </a:r>
          </a:p>
          <a:p>
            <a:pPr marL="571500" lvl="1" indent="-342900">
              <a:buFont typeface="Arial" panose="020B0604020202020204" pitchFamily="34" charset="0"/>
              <a:buChar char="•"/>
            </a:pPr>
            <a:r>
              <a:rPr lang="en-US" dirty="0"/>
              <a:t>Analyze the Query Performance Insight output.</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Monitoring Query Performance using Query Performance Insight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Configure the Query Store.</a:t>
            </a:r>
          </a:p>
          <a:p>
            <a:pPr marL="342900" indent="-342900">
              <a:buFont typeface="Arial" panose="020B0604020202020204" pitchFamily="34" charset="0"/>
              <a:buChar char="•"/>
            </a:pPr>
            <a:r>
              <a:rPr lang="en-US" dirty="0"/>
              <a:t>Analyze the Query Performance Insight. </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147177822"/>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102918906"/>
              </p:ext>
            </p:extLst>
          </p:nvPr>
        </p:nvGraphicFramePr>
        <p:xfrm>
          <a:off x="655638" y="1408113"/>
          <a:ext cx="10880725" cy="22494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8568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E922B38C-D007-46D8-9A79-C8E951BC8385}"/>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9" y="2979777"/>
            <a:ext cx="8335962" cy="604798"/>
          </a:xfrm>
        </p:spPr>
        <p:txBody>
          <a:bodyPr/>
          <a:lstStyle/>
          <a:p>
            <a:r>
              <a:rPr lang="en-US" dirty="0"/>
              <a:t>Lesson 3: Azure SQL Database Tuning using Automatic Tuning</a:t>
            </a:r>
          </a:p>
        </p:txBody>
      </p:sp>
    </p:spTree>
    <p:extLst>
      <p:ext uri="{BB962C8B-B14F-4D97-AF65-F5344CB8AC3E}">
        <p14:creationId xmlns:p14="http://schemas.microsoft.com/office/powerpoint/2010/main" val="574958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Know how Performance Recommendations can help to improve database performanc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09152-2C69-42A4-B9E8-17C66374474F}"/>
              </a:ext>
            </a:extLst>
          </p:cNvPr>
          <p:cNvSpPr>
            <a:spLocks noGrp="1"/>
          </p:cNvSpPr>
          <p:nvPr>
            <p:ph type="title"/>
          </p:nvPr>
        </p:nvSpPr>
        <p:spPr/>
        <p:txBody>
          <a:bodyPr/>
          <a:lstStyle/>
          <a:p>
            <a:r>
              <a:rPr lang="en-US" dirty="0"/>
              <a:t>Automatic Tuning</a:t>
            </a:r>
          </a:p>
        </p:txBody>
      </p:sp>
      <p:pic>
        <p:nvPicPr>
          <p:cNvPr id="4" name="Picture 2" descr="How does automatic tuning work">
            <a:extLst>
              <a:ext uri="{FF2B5EF4-FFF2-40B4-BE49-F238E27FC236}">
                <a16:creationId xmlns:a16="http://schemas.microsoft.com/office/drawing/2014/main" id="{D1C9C352-678B-48F0-9F9D-99341035D2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1240" y="990600"/>
            <a:ext cx="7578050" cy="506109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61DC19AA-6E4A-4840-A775-C596349863FC}"/>
              </a:ext>
            </a:extLst>
          </p:cNvPr>
          <p:cNvSpPr/>
          <p:nvPr/>
        </p:nvSpPr>
        <p:spPr>
          <a:xfrm>
            <a:off x="655638" y="6353294"/>
            <a:ext cx="5194627" cy="369332"/>
          </a:xfrm>
          <a:prstGeom prst="rect">
            <a:avLst/>
          </a:prstGeom>
        </p:spPr>
        <p:txBody>
          <a:bodyPr wrap="none">
            <a:spAutoFit/>
          </a:bodyPr>
          <a:lstStyle/>
          <a:p>
            <a:r>
              <a:rPr lang="en-US" dirty="0">
                <a:hlinkClick r:id="rId4"/>
              </a:rPr>
              <a:t>Performance recommendations for SQL Database</a:t>
            </a:r>
            <a:endParaRPr lang="nl-BE" dirty="0"/>
          </a:p>
        </p:txBody>
      </p:sp>
    </p:spTree>
    <p:extLst>
      <p:ext uri="{BB962C8B-B14F-4D97-AF65-F5344CB8AC3E}">
        <p14:creationId xmlns:p14="http://schemas.microsoft.com/office/powerpoint/2010/main" val="30336196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09152-2C69-42A4-B9E8-17C66374474F}"/>
              </a:ext>
            </a:extLst>
          </p:cNvPr>
          <p:cNvSpPr>
            <a:spLocks noGrp="1"/>
          </p:cNvSpPr>
          <p:nvPr>
            <p:ph type="title"/>
          </p:nvPr>
        </p:nvSpPr>
        <p:spPr/>
        <p:txBody>
          <a:bodyPr/>
          <a:lstStyle/>
          <a:p>
            <a:r>
              <a:rPr lang="en-US" dirty="0"/>
              <a:t>Intelligent Performance – Automatic Tuning </a:t>
            </a:r>
          </a:p>
        </p:txBody>
      </p:sp>
      <p:graphicFrame>
        <p:nvGraphicFramePr>
          <p:cNvPr id="11" name="Diagram 10">
            <a:extLst>
              <a:ext uri="{FF2B5EF4-FFF2-40B4-BE49-F238E27FC236}">
                <a16:creationId xmlns:a16="http://schemas.microsoft.com/office/drawing/2014/main" id="{C446714C-5FAA-4A7A-AAD7-50BCC417B290}"/>
              </a:ext>
            </a:extLst>
          </p:cNvPr>
          <p:cNvGraphicFramePr/>
          <p:nvPr>
            <p:extLst>
              <p:ext uri="{D42A27DB-BD31-4B8C-83A1-F6EECF244321}">
                <p14:modId xmlns:p14="http://schemas.microsoft.com/office/powerpoint/2010/main" val="947007127"/>
              </p:ext>
            </p:extLst>
          </p:nvPr>
        </p:nvGraphicFramePr>
        <p:xfrm>
          <a:off x="7668402" y="1581184"/>
          <a:ext cx="3867960" cy="46465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a:extLst>
              <a:ext uri="{FF2B5EF4-FFF2-40B4-BE49-F238E27FC236}">
                <a16:creationId xmlns:a16="http://schemas.microsoft.com/office/drawing/2014/main" id="{D3F290EA-7024-4EDA-8DE0-EAFCC2265B06}"/>
              </a:ext>
            </a:extLst>
          </p:cNvPr>
          <p:cNvPicPr>
            <a:picLocks noChangeAspect="1"/>
          </p:cNvPicPr>
          <p:nvPr/>
        </p:nvPicPr>
        <p:blipFill>
          <a:blip r:embed="rId7"/>
          <a:stretch>
            <a:fillRect/>
          </a:stretch>
        </p:blipFill>
        <p:spPr>
          <a:xfrm>
            <a:off x="400167" y="1186151"/>
            <a:ext cx="3331683" cy="2190403"/>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E384CD1A-7469-4348-BF6D-949E765428C8}"/>
              </a:ext>
            </a:extLst>
          </p:cNvPr>
          <p:cNvPicPr>
            <a:picLocks noChangeAspect="1"/>
          </p:cNvPicPr>
          <p:nvPr/>
        </p:nvPicPr>
        <p:blipFill>
          <a:blip r:embed="rId8"/>
          <a:stretch>
            <a:fillRect/>
          </a:stretch>
        </p:blipFill>
        <p:spPr>
          <a:xfrm>
            <a:off x="411890" y="2052321"/>
            <a:ext cx="6646446" cy="2858252"/>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B320CFA1-54F1-4B58-953C-3F66804D2557}"/>
              </a:ext>
            </a:extLst>
          </p:cNvPr>
          <p:cNvPicPr>
            <a:picLocks noChangeAspect="1"/>
          </p:cNvPicPr>
          <p:nvPr/>
        </p:nvPicPr>
        <p:blipFill>
          <a:blip r:embed="rId9"/>
          <a:stretch>
            <a:fillRect/>
          </a:stretch>
        </p:blipFill>
        <p:spPr>
          <a:xfrm>
            <a:off x="400167" y="2994408"/>
            <a:ext cx="7085075" cy="2858252"/>
          </a:xfrm>
          <a:prstGeom prst="rect">
            <a:avLst/>
          </a:prstGeom>
          <a:ln>
            <a:noFill/>
          </a:ln>
          <a:effectLst>
            <a:outerShdw blurRad="190500" algn="tl" rotWithShape="0">
              <a:srgbClr val="000000">
                <a:alpha val="70000"/>
              </a:srgbClr>
            </a:outerShdw>
          </a:effectLst>
        </p:spPr>
      </p:pic>
      <p:sp>
        <p:nvSpPr>
          <p:cNvPr id="9" name="Rectangle 8">
            <a:extLst>
              <a:ext uri="{FF2B5EF4-FFF2-40B4-BE49-F238E27FC236}">
                <a16:creationId xmlns:a16="http://schemas.microsoft.com/office/drawing/2014/main" id="{C9CAA35B-2CEF-45B0-B134-99304CDD4612}"/>
              </a:ext>
            </a:extLst>
          </p:cNvPr>
          <p:cNvSpPr/>
          <p:nvPr/>
        </p:nvSpPr>
        <p:spPr>
          <a:xfrm>
            <a:off x="655636" y="5880601"/>
            <a:ext cx="6646446" cy="657359"/>
          </a:xfrm>
          <a:prstGeom prst="rect">
            <a:avLst/>
          </a:prstGeom>
        </p:spPr>
        <p:txBody>
          <a:bodyPr wrap="square">
            <a:spAutoFit/>
          </a:bodyPr>
          <a:lstStyle/>
          <a:p>
            <a:pPr defTabSz="932418"/>
            <a:r>
              <a:rPr lang="en-GB" sz="1836" dirty="0">
                <a:solidFill>
                  <a:prstClr val="black"/>
                </a:solidFill>
                <a:latin typeface="Calibri" panose="020F0502020204030204"/>
                <a:hlinkClick r:id="rId10"/>
              </a:rPr>
              <a:t>http://automaticplancorrectiondemo.azurewebsites.net/index.html</a:t>
            </a:r>
            <a:endParaRPr lang="en-GB" sz="1836" dirty="0">
              <a:solidFill>
                <a:prstClr val="black"/>
              </a:solidFill>
              <a:latin typeface="Calibri" panose="020F0502020204030204"/>
            </a:endParaRPr>
          </a:p>
          <a:p>
            <a:pPr defTabSz="932418"/>
            <a:endParaRPr lang="en-GB" sz="1836" dirty="0">
              <a:solidFill>
                <a:prstClr val="black"/>
              </a:solidFill>
              <a:latin typeface="Calibri" panose="020F0502020204030204"/>
            </a:endParaRPr>
          </a:p>
        </p:txBody>
      </p:sp>
    </p:spTree>
    <p:extLst>
      <p:ext uri="{BB962C8B-B14F-4D97-AF65-F5344CB8AC3E}">
        <p14:creationId xmlns:p14="http://schemas.microsoft.com/office/powerpoint/2010/main" val="3383849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09152-2C69-42A4-B9E8-17C66374474F}"/>
              </a:ext>
            </a:extLst>
          </p:cNvPr>
          <p:cNvSpPr>
            <a:spLocks noGrp="1"/>
          </p:cNvSpPr>
          <p:nvPr>
            <p:ph type="title"/>
          </p:nvPr>
        </p:nvSpPr>
        <p:spPr/>
        <p:txBody>
          <a:bodyPr/>
          <a:lstStyle/>
          <a:p>
            <a:r>
              <a:rPr lang="en-US" dirty="0"/>
              <a:t>Automatic Tuning – Create Index</a:t>
            </a:r>
          </a:p>
        </p:txBody>
      </p:sp>
      <p:graphicFrame>
        <p:nvGraphicFramePr>
          <p:cNvPr id="4" name="Content Placeholder 3">
            <a:extLst>
              <a:ext uri="{FF2B5EF4-FFF2-40B4-BE49-F238E27FC236}">
                <a16:creationId xmlns:a16="http://schemas.microsoft.com/office/drawing/2014/main" id="{EA5387F8-BA10-4FB8-BE87-228B55D00AF3}"/>
              </a:ext>
            </a:extLst>
          </p:cNvPr>
          <p:cNvGraphicFramePr>
            <a:graphicFrameLocks noGrp="1"/>
          </p:cNvGraphicFramePr>
          <p:nvPr>
            <p:ph sz="quarter" idx="13"/>
            <p:extLst>
              <p:ext uri="{D42A27DB-BD31-4B8C-83A1-F6EECF244321}">
                <p14:modId xmlns:p14="http://schemas.microsoft.com/office/powerpoint/2010/main" val="1152835572"/>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882957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09152-2C69-42A4-B9E8-17C66374474F}"/>
              </a:ext>
            </a:extLst>
          </p:cNvPr>
          <p:cNvSpPr>
            <a:spLocks noGrp="1"/>
          </p:cNvSpPr>
          <p:nvPr>
            <p:ph type="title"/>
          </p:nvPr>
        </p:nvSpPr>
        <p:spPr/>
        <p:txBody>
          <a:bodyPr/>
          <a:lstStyle/>
          <a:p>
            <a:r>
              <a:rPr lang="en-US" dirty="0"/>
              <a:t>Automatic Tuning – Drop Index</a:t>
            </a:r>
          </a:p>
        </p:txBody>
      </p:sp>
      <p:graphicFrame>
        <p:nvGraphicFramePr>
          <p:cNvPr id="4" name="Content Placeholder 3">
            <a:extLst>
              <a:ext uri="{FF2B5EF4-FFF2-40B4-BE49-F238E27FC236}">
                <a16:creationId xmlns:a16="http://schemas.microsoft.com/office/drawing/2014/main" id="{C66C0D6E-D4B7-4C3C-81E4-169E7FF3D6EE}"/>
              </a:ext>
            </a:extLst>
          </p:cNvPr>
          <p:cNvGraphicFramePr>
            <a:graphicFrameLocks noGrp="1"/>
          </p:cNvGraphicFramePr>
          <p:nvPr>
            <p:ph sz="quarter" idx="13"/>
            <p:extLst>
              <p:ext uri="{D42A27DB-BD31-4B8C-83A1-F6EECF244321}">
                <p14:modId xmlns:p14="http://schemas.microsoft.com/office/powerpoint/2010/main" val="2689610305"/>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523316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09152-2C69-42A4-B9E8-17C66374474F}"/>
              </a:ext>
            </a:extLst>
          </p:cNvPr>
          <p:cNvSpPr>
            <a:spLocks noGrp="1"/>
          </p:cNvSpPr>
          <p:nvPr>
            <p:ph type="title"/>
          </p:nvPr>
        </p:nvSpPr>
        <p:spPr>
          <a:xfrm>
            <a:off x="655638" y="320040"/>
            <a:ext cx="10880725" cy="461665"/>
          </a:xfrm>
        </p:spPr>
        <p:txBody>
          <a:bodyPr wrap="square" anchor="t">
            <a:normAutofit/>
          </a:bodyPr>
          <a:lstStyle/>
          <a:p>
            <a:r>
              <a:rPr lang="en-US" dirty="0"/>
              <a:t>Automatic Tuning – Parameterize Queries</a:t>
            </a:r>
          </a:p>
        </p:txBody>
      </p:sp>
      <p:graphicFrame>
        <p:nvGraphicFramePr>
          <p:cNvPr id="4" name="Content Placeholder 3">
            <a:extLst>
              <a:ext uri="{FF2B5EF4-FFF2-40B4-BE49-F238E27FC236}">
                <a16:creationId xmlns:a16="http://schemas.microsoft.com/office/drawing/2014/main" id="{6B7361B4-A2AD-4EB3-85A1-1B1ECCCBA46E}"/>
              </a:ext>
            </a:extLst>
          </p:cNvPr>
          <p:cNvGraphicFramePr>
            <a:graphicFrameLocks noGrp="1"/>
          </p:cNvGraphicFramePr>
          <p:nvPr>
            <p:ph sz="quarter" idx="13"/>
            <p:extLst>
              <p:ext uri="{D42A27DB-BD31-4B8C-83A1-F6EECF244321}">
                <p14:modId xmlns:p14="http://schemas.microsoft.com/office/powerpoint/2010/main" val="524055052"/>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492338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470444308"/>
              </p:ext>
            </p:extLst>
          </p:nvPr>
        </p:nvGraphicFramePr>
        <p:xfrm>
          <a:off x="655638" y="1408113"/>
          <a:ext cx="10880725" cy="2782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64637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E922B38C-D007-46D8-9A79-C8E951BC8385}"/>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E29C2E90-8458-435A-8D44-6886593072C8}"/>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it-IT" dirty="0"/>
              <a:t>Lesson 4: Monitoring Azure SQL Database Performance using Intelligent Insights</a:t>
            </a:r>
            <a:endParaRPr lang="en-US" dirty="0"/>
          </a:p>
        </p:txBody>
      </p:sp>
    </p:spTree>
    <p:extLst>
      <p:ext uri="{BB962C8B-B14F-4D97-AF65-F5344CB8AC3E}">
        <p14:creationId xmlns:p14="http://schemas.microsoft.com/office/powerpoint/2010/main" val="38838255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878637" cy="5597525"/>
          </a:xfrm>
        </p:spPr>
        <p:txBody>
          <a:bodyPr/>
          <a:lstStyle/>
          <a:p>
            <a:r>
              <a:rPr lang="en-US" dirty="0"/>
              <a:t>Lesson 1: Monitoring and Troubleshooting Azure SQL Database</a:t>
            </a:r>
          </a:p>
          <a:p>
            <a:r>
              <a:rPr lang="en-US" dirty="0"/>
              <a:t>Lesson 2: Monitoring Query Performance using Query Performance Insight</a:t>
            </a:r>
          </a:p>
          <a:p>
            <a:r>
              <a:rPr lang="it-IT" dirty="0"/>
              <a:t>Lesson 3: </a:t>
            </a:r>
            <a:r>
              <a:rPr lang="en-US" dirty="0"/>
              <a:t>Azure SQL Database Tuning using Automatic Tuning</a:t>
            </a:r>
            <a:endParaRPr lang="it-IT" dirty="0"/>
          </a:p>
          <a:p>
            <a:r>
              <a:rPr lang="en-US" dirty="0"/>
              <a:t>Lesson 4: Monitoring Azure SQL Database Performance using Intelligent Insights</a:t>
            </a:r>
          </a:p>
          <a:p>
            <a:r>
              <a:rPr lang="en-US" dirty="0"/>
              <a:t>Lesson 5: Monitoring Azure SQL Database Performance using Extended Events</a:t>
            </a:r>
          </a:p>
          <a:p>
            <a:r>
              <a:rPr lang="en-US" dirty="0"/>
              <a:t>Lesson 6: Configure Alerts through Azure Portal</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se Intelligent Insights, to let you know what is happening with your database performanc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82994021"/>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D12A7-88C6-43B5-BACE-63605D6AA2D4}"/>
              </a:ext>
            </a:extLst>
          </p:cNvPr>
          <p:cNvSpPr>
            <a:spLocks noGrp="1"/>
          </p:cNvSpPr>
          <p:nvPr>
            <p:ph type="title"/>
          </p:nvPr>
        </p:nvSpPr>
        <p:spPr>
          <a:xfrm>
            <a:off x="655638" y="320040"/>
            <a:ext cx="10880725" cy="923330"/>
          </a:xfrm>
        </p:spPr>
        <p:txBody>
          <a:bodyPr/>
          <a:lstStyle/>
          <a:p>
            <a:r>
              <a:rPr lang="en-US" dirty="0"/>
              <a:t>Monitoring Azure SQL Database Performance using Intelligent Insights</a:t>
            </a:r>
          </a:p>
        </p:txBody>
      </p:sp>
      <p:pic>
        <p:nvPicPr>
          <p:cNvPr id="4" name="picture">
            <a:extLst>
              <a:ext uri="{FF2B5EF4-FFF2-40B4-BE49-F238E27FC236}">
                <a16:creationId xmlns:a16="http://schemas.microsoft.com/office/drawing/2014/main" id="{4D7250C3-03B1-4FD4-BDDD-8DB0BDA86E73}"/>
              </a:ext>
            </a:extLst>
          </p:cNvPr>
          <p:cNvPicPr/>
          <p:nvPr/>
        </p:nvPicPr>
        <p:blipFill>
          <a:blip r:embed="rId3">
            <a:clrChange>
              <a:clrFrom>
                <a:srgbClr val="EEEEEE"/>
              </a:clrFrom>
              <a:clrTo>
                <a:srgbClr val="EEEEEE">
                  <a:alpha val="0"/>
                </a:srgbClr>
              </a:clrTo>
            </a:clrChange>
            <a:extLst>
              <a:ext uri="{28A0092B-C50C-407E-A947-70E740481C1C}">
                <a14:useLocalDpi xmlns:a14="http://schemas.microsoft.com/office/drawing/2010/main" val="0"/>
              </a:ext>
            </a:extLst>
          </a:blip>
          <a:stretch>
            <a:fillRect/>
          </a:stretch>
        </p:blipFill>
        <p:spPr>
          <a:xfrm>
            <a:off x="5598697" y="2226835"/>
            <a:ext cx="6051967" cy="3223051"/>
          </a:xfrm>
          <a:prstGeom prst="rect">
            <a:avLst/>
          </a:prstGeom>
        </p:spPr>
      </p:pic>
      <p:graphicFrame>
        <p:nvGraphicFramePr>
          <p:cNvPr id="5" name="Diagram 4">
            <a:extLst>
              <a:ext uri="{FF2B5EF4-FFF2-40B4-BE49-F238E27FC236}">
                <a16:creationId xmlns:a16="http://schemas.microsoft.com/office/drawing/2014/main" id="{DE7A6ED7-901B-420B-B5CF-16DB7C693AE1}"/>
              </a:ext>
            </a:extLst>
          </p:cNvPr>
          <p:cNvGraphicFramePr/>
          <p:nvPr>
            <p:extLst>
              <p:ext uri="{D42A27DB-BD31-4B8C-83A1-F6EECF244321}">
                <p14:modId xmlns:p14="http://schemas.microsoft.com/office/powerpoint/2010/main" val="4011610689"/>
              </p:ext>
            </p:extLst>
          </p:nvPr>
        </p:nvGraphicFramePr>
        <p:xfrm>
          <a:off x="639594" y="1428535"/>
          <a:ext cx="4742532"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3103522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D12A7-88C6-43B5-BACE-63605D6AA2D4}"/>
              </a:ext>
            </a:extLst>
          </p:cNvPr>
          <p:cNvSpPr>
            <a:spLocks noGrp="1"/>
          </p:cNvSpPr>
          <p:nvPr>
            <p:ph type="title"/>
          </p:nvPr>
        </p:nvSpPr>
        <p:spPr/>
        <p:txBody>
          <a:bodyPr/>
          <a:lstStyle/>
          <a:p>
            <a:r>
              <a:rPr lang="en-US" dirty="0"/>
              <a:t>How does Intelligent Insights work?</a:t>
            </a:r>
          </a:p>
        </p:txBody>
      </p:sp>
      <p:graphicFrame>
        <p:nvGraphicFramePr>
          <p:cNvPr id="6" name="Content Placeholder 5">
            <a:extLst>
              <a:ext uri="{FF2B5EF4-FFF2-40B4-BE49-F238E27FC236}">
                <a16:creationId xmlns:a16="http://schemas.microsoft.com/office/drawing/2014/main" id="{1ABAC8BC-DE77-41FD-A659-C064591DB77D}"/>
              </a:ext>
            </a:extLst>
          </p:cNvPr>
          <p:cNvGraphicFramePr>
            <a:graphicFrameLocks noGrp="1"/>
          </p:cNvGraphicFramePr>
          <p:nvPr>
            <p:ph sz="quarter" idx="13"/>
            <p:extLst>
              <p:ext uri="{D42A27DB-BD31-4B8C-83A1-F6EECF244321}">
                <p14:modId xmlns:p14="http://schemas.microsoft.com/office/powerpoint/2010/main" val="3830239687"/>
              </p:ext>
            </p:extLst>
          </p:nvPr>
        </p:nvGraphicFramePr>
        <p:xfrm>
          <a:off x="655639" y="1408113"/>
          <a:ext cx="63547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FE6C95E4-1469-420E-B923-42C4D1EFCD98}"/>
              </a:ext>
            </a:extLst>
          </p:cNvPr>
          <p:cNvPicPr>
            <a:picLocks noChangeAspect="1"/>
          </p:cNvPicPr>
          <p:nvPr/>
        </p:nvPicPr>
        <p:blipFill>
          <a:blip r:embed="rId8"/>
          <a:stretch>
            <a:fillRect/>
          </a:stretch>
        </p:blipFill>
        <p:spPr>
          <a:xfrm>
            <a:off x="7165133" y="1524001"/>
            <a:ext cx="4320946" cy="4572000"/>
          </a:xfrm>
          <a:prstGeom prst="rect">
            <a:avLst/>
          </a:prstGeom>
        </p:spPr>
      </p:pic>
    </p:spTree>
    <p:extLst>
      <p:ext uri="{BB962C8B-B14F-4D97-AF65-F5344CB8AC3E}">
        <p14:creationId xmlns:p14="http://schemas.microsoft.com/office/powerpoint/2010/main" val="12011927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D12A7-88C6-43B5-BACE-63605D6AA2D4}"/>
              </a:ext>
            </a:extLst>
          </p:cNvPr>
          <p:cNvSpPr>
            <a:spLocks noGrp="1"/>
          </p:cNvSpPr>
          <p:nvPr>
            <p:ph type="title"/>
          </p:nvPr>
        </p:nvSpPr>
        <p:spPr/>
        <p:txBody>
          <a:bodyPr/>
          <a:lstStyle/>
          <a:p>
            <a:r>
              <a:rPr lang="en-US" dirty="0"/>
              <a:t>Performance Troubleshooting</a:t>
            </a:r>
          </a:p>
        </p:txBody>
      </p:sp>
      <p:graphicFrame>
        <p:nvGraphicFramePr>
          <p:cNvPr id="4" name="Table 3">
            <a:extLst>
              <a:ext uri="{FF2B5EF4-FFF2-40B4-BE49-F238E27FC236}">
                <a16:creationId xmlns:a16="http://schemas.microsoft.com/office/drawing/2014/main" id="{6E00B224-283A-4C22-9BB8-1C44B9EC4E18}"/>
              </a:ext>
            </a:extLst>
          </p:cNvPr>
          <p:cNvGraphicFramePr>
            <a:graphicFrameLocks noGrp="1"/>
          </p:cNvGraphicFramePr>
          <p:nvPr>
            <p:extLst>
              <p:ext uri="{D42A27DB-BD31-4B8C-83A1-F6EECF244321}">
                <p14:modId xmlns:p14="http://schemas.microsoft.com/office/powerpoint/2010/main" val="135865127"/>
              </p:ext>
            </p:extLst>
          </p:nvPr>
        </p:nvGraphicFramePr>
        <p:xfrm>
          <a:off x="655636" y="1408114"/>
          <a:ext cx="10698164" cy="4830993"/>
        </p:xfrm>
        <a:graphic>
          <a:graphicData uri="http://schemas.openxmlformats.org/drawingml/2006/table">
            <a:tbl>
              <a:tblPr firstRow="1" bandRow="1">
                <a:tableStyleId>{B301B821-A1FF-4177-AEE7-76D212191A09}</a:tableStyleId>
              </a:tblPr>
              <a:tblGrid>
                <a:gridCol w="2620963">
                  <a:extLst>
                    <a:ext uri="{9D8B030D-6E8A-4147-A177-3AD203B41FA5}">
                      <a16:colId xmlns:a16="http://schemas.microsoft.com/office/drawing/2014/main" val="2485569381"/>
                    </a:ext>
                  </a:extLst>
                </a:gridCol>
                <a:gridCol w="8077201">
                  <a:extLst>
                    <a:ext uri="{9D8B030D-6E8A-4147-A177-3AD203B41FA5}">
                      <a16:colId xmlns:a16="http://schemas.microsoft.com/office/drawing/2014/main" val="1277869328"/>
                    </a:ext>
                  </a:extLst>
                </a:gridCol>
              </a:tblGrid>
              <a:tr h="526284">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r>
                        <a:rPr lang="nl-BE" sz="1400" dirty="0"/>
                        <a:t>Detectable performance patterns</a:t>
                      </a:r>
                    </a:p>
                  </a:txBody>
                  <a:tcP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r>
                        <a:rPr lang="nl-BE" sz="1400" dirty="0"/>
                        <a:t>Details outputted</a:t>
                      </a:r>
                    </a:p>
                  </a:txBody>
                  <a:tcPr/>
                </a:tc>
                <a:extLst>
                  <a:ext uri="{0D108BD9-81ED-4DB2-BD59-A6C34878D82A}">
                    <a16:rowId xmlns:a16="http://schemas.microsoft.com/office/drawing/2014/main" val="536912243"/>
                  </a:ext>
                </a:extLst>
              </a:tr>
              <a:tr h="80327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nl-BE" sz="1400" u="none" strike="noStrike">
                          <a:effectLst/>
                          <a:hlinkClick r:id="rId3"/>
                        </a:rPr>
                        <a:t>Reaching resource limits</a:t>
                      </a:r>
                      <a:endParaRPr lang="nl-BE" sz="1400">
                        <a:effectLst/>
                      </a:endParaRPr>
                    </a:p>
                  </a:txBody>
                  <a:tcPr marL="101600" marR="101600" marT="76200" marB="76200"/>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400" dirty="0">
                          <a:effectLst/>
                        </a:rPr>
                        <a:t>Consumption of available resources (DTUs), database worker threads, or database login sessions available on the monitored subscription has reached limits, which causes SQL Database performance issues.</a:t>
                      </a:r>
                    </a:p>
                  </a:txBody>
                  <a:tcPr marL="101600" marR="101600" marT="76200" marB="76200"/>
                </a:tc>
                <a:extLst>
                  <a:ext uri="{0D108BD9-81ED-4DB2-BD59-A6C34878D82A}">
                    <a16:rowId xmlns:a16="http://schemas.microsoft.com/office/drawing/2014/main" val="3836986313"/>
                  </a:ext>
                </a:extLst>
              </a:tr>
              <a:tr h="581682">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nl-BE" sz="1400" u="none" strike="noStrike">
                          <a:effectLst/>
                          <a:hlinkClick r:id="rId4"/>
                        </a:rPr>
                        <a:t>Workload Increase</a:t>
                      </a:r>
                      <a:endParaRPr lang="nl-BE" sz="1400">
                        <a:effectLst/>
                      </a:endParaRPr>
                    </a:p>
                  </a:txBody>
                  <a:tcPr marL="101600" marR="101600" marT="76200" marB="76200"/>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400" dirty="0">
                          <a:effectLst/>
                        </a:rPr>
                        <a:t>Workload increase or continuous accumulation of workload on the database was detected, which causes SQL Database performance issues.</a:t>
                      </a:r>
                    </a:p>
                  </a:txBody>
                  <a:tcPr marL="101600" marR="101600" marT="76200" marB="76200"/>
                </a:tc>
                <a:extLst>
                  <a:ext uri="{0D108BD9-81ED-4DB2-BD59-A6C34878D82A}">
                    <a16:rowId xmlns:a16="http://schemas.microsoft.com/office/drawing/2014/main" val="3829603873"/>
                  </a:ext>
                </a:extLst>
              </a:tr>
              <a:tr h="80327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nl-BE" sz="1400" u="none" strike="noStrike">
                          <a:effectLst/>
                          <a:hlinkClick r:id="rId5"/>
                        </a:rPr>
                        <a:t>Memory Pressure</a:t>
                      </a:r>
                      <a:endParaRPr lang="nl-BE" sz="1400">
                        <a:effectLst/>
                      </a:endParaRPr>
                    </a:p>
                  </a:txBody>
                  <a:tcPr marL="101600" marR="101600" marT="76200" marB="76200"/>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400" dirty="0">
                          <a:effectLst/>
                        </a:rPr>
                        <a:t>Workers that requested memory grants have to wait for memory allocations for statistically significant amounts of time. Or an increased accumulation of workers that requested memory grants exists, which affects SQL Database performance.</a:t>
                      </a:r>
                    </a:p>
                  </a:txBody>
                  <a:tcPr marL="101600" marR="101600" marT="76200" marB="76200"/>
                </a:tc>
                <a:extLst>
                  <a:ext uri="{0D108BD9-81ED-4DB2-BD59-A6C34878D82A}">
                    <a16:rowId xmlns:a16="http://schemas.microsoft.com/office/drawing/2014/main" val="2437744874"/>
                  </a:ext>
                </a:extLst>
              </a:tr>
              <a:tr h="360089">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nl-BE" sz="1400" u="none" strike="noStrike">
                          <a:effectLst/>
                          <a:hlinkClick r:id="rId6"/>
                        </a:rPr>
                        <a:t>Locking</a:t>
                      </a:r>
                      <a:endParaRPr lang="nl-BE" sz="1400">
                        <a:effectLst/>
                      </a:endParaRPr>
                    </a:p>
                  </a:txBody>
                  <a:tcPr marL="101600" marR="101600" marT="76200" marB="76200"/>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400">
                          <a:effectLst/>
                        </a:rPr>
                        <a:t>Excessive database locking was detected, which affects SQL Database performance.</a:t>
                      </a:r>
                    </a:p>
                  </a:txBody>
                  <a:tcPr marL="101600" marR="101600" marT="76200" marB="76200"/>
                </a:tc>
                <a:extLst>
                  <a:ext uri="{0D108BD9-81ED-4DB2-BD59-A6C34878D82A}">
                    <a16:rowId xmlns:a16="http://schemas.microsoft.com/office/drawing/2014/main" val="2204721961"/>
                  </a:ext>
                </a:extLst>
              </a:tr>
              <a:tr h="581682">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nl-BE" sz="1400" u="none" strike="noStrike">
                          <a:effectLst/>
                          <a:hlinkClick r:id="rId7"/>
                        </a:rPr>
                        <a:t>Increased MAXDOP</a:t>
                      </a:r>
                      <a:endParaRPr lang="nl-BE" sz="1400">
                        <a:effectLst/>
                      </a:endParaRPr>
                    </a:p>
                  </a:txBody>
                  <a:tcPr marL="101600" marR="101600" marT="76200" marB="76200"/>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400">
                          <a:effectLst/>
                        </a:rPr>
                        <a:t>The maximum degree of parallelism option (MAXDOP) has changed, and it affects the query execution efficiency.</a:t>
                      </a:r>
                    </a:p>
                  </a:txBody>
                  <a:tcPr marL="101600" marR="101600" marT="76200" marB="76200"/>
                </a:tc>
                <a:extLst>
                  <a:ext uri="{0D108BD9-81ED-4DB2-BD59-A6C34878D82A}">
                    <a16:rowId xmlns:a16="http://schemas.microsoft.com/office/drawing/2014/main" val="334547231"/>
                  </a:ext>
                </a:extLst>
              </a:tr>
              <a:tr h="803275">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nl-BE" sz="1400" u="none" strike="noStrike">
                          <a:effectLst/>
                          <a:hlinkClick r:id="rId8"/>
                        </a:rPr>
                        <a:t>Pagelatch Contention</a:t>
                      </a:r>
                      <a:endParaRPr lang="nl-BE" sz="1400">
                        <a:effectLst/>
                      </a:endParaRPr>
                    </a:p>
                  </a:txBody>
                  <a:tcPr marL="101600" marR="101600" marT="76200" marB="76200"/>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400" err="1">
                          <a:effectLst/>
                        </a:rPr>
                        <a:t>Pagelatch</a:t>
                      </a:r>
                      <a:r>
                        <a:rPr lang="en-US" sz="1400">
                          <a:effectLst/>
                        </a:rPr>
                        <a:t> contention was detected, which affects SQL Database performance. Multiple threads concurrently attempt to access the same in-memory data buffer pages. This results in increased wait times, which affects SQL Database performance.</a:t>
                      </a:r>
                    </a:p>
                  </a:txBody>
                  <a:tcPr marL="101600" marR="101600" marT="76200" marB="76200"/>
                </a:tc>
                <a:extLst>
                  <a:ext uri="{0D108BD9-81ED-4DB2-BD59-A6C34878D82A}">
                    <a16:rowId xmlns:a16="http://schemas.microsoft.com/office/drawing/2014/main" val="597460632"/>
                  </a:ext>
                </a:extLst>
              </a:tr>
              <a:tr h="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nl-BE" sz="1400" u="none" strike="noStrike">
                          <a:effectLst/>
                          <a:hlinkClick r:id="rId9"/>
                        </a:rPr>
                        <a:t>Missing Index</a:t>
                      </a:r>
                      <a:endParaRPr lang="nl-BE" sz="1400">
                        <a:effectLst/>
                      </a:endParaRPr>
                    </a:p>
                  </a:txBody>
                  <a:tcPr marL="101600" marR="101600" marT="76200" marB="76200"/>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400" dirty="0">
                          <a:effectLst/>
                        </a:rPr>
                        <a:t>A missing index issue was detected, which affects SQL Database performance.</a:t>
                      </a:r>
                    </a:p>
                  </a:txBody>
                  <a:tcPr marL="101600" marR="101600" marT="76200" marB="76200"/>
                </a:tc>
                <a:extLst>
                  <a:ext uri="{0D108BD9-81ED-4DB2-BD59-A6C34878D82A}">
                    <a16:rowId xmlns:a16="http://schemas.microsoft.com/office/drawing/2014/main" val="4061740623"/>
                  </a:ext>
                </a:extLst>
              </a:tr>
            </a:tbl>
          </a:graphicData>
        </a:graphic>
      </p:graphicFrame>
    </p:spTree>
    <p:extLst>
      <p:ext uri="{BB962C8B-B14F-4D97-AF65-F5344CB8AC3E}">
        <p14:creationId xmlns:p14="http://schemas.microsoft.com/office/powerpoint/2010/main" val="316031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D12A7-88C6-43B5-BACE-63605D6AA2D4}"/>
              </a:ext>
            </a:extLst>
          </p:cNvPr>
          <p:cNvSpPr>
            <a:spLocks noGrp="1"/>
          </p:cNvSpPr>
          <p:nvPr>
            <p:ph type="title"/>
          </p:nvPr>
        </p:nvSpPr>
        <p:spPr/>
        <p:txBody>
          <a:bodyPr/>
          <a:lstStyle/>
          <a:p>
            <a:r>
              <a:rPr lang="en-US" dirty="0"/>
              <a:t>Performance Troubleshooting (continued)</a:t>
            </a:r>
          </a:p>
        </p:txBody>
      </p:sp>
      <p:graphicFrame>
        <p:nvGraphicFramePr>
          <p:cNvPr id="4" name="Table 3">
            <a:extLst>
              <a:ext uri="{FF2B5EF4-FFF2-40B4-BE49-F238E27FC236}">
                <a16:creationId xmlns:a16="http://schemas.microsoft.com/office/drawing/2014/main" id="{6F2D9B50-3367-46A4-8B0B-52C310CAB153}"/>
              </a:ext>
            </a:extLst>
          </p:cNvPr>
          <p:cNvGraphicFramePr>
            <a:graphicFrameLocks noGrp="1"/>
          </p:cNvGraphicFramePr>
          <p:nvPr>
            <p:extLst>
              <p:ext uri="{D42A27DB-BD31-4B8C-83A1-F6EECF244321}">
                <p14:modId xmlns:p14="http://schemas.microsoft.com/office/powerpoint/2010/main" val="709188134"/>
              </p:ext>
            </p:extLst>
          </p:nvPr>
        </p:nvGraphicFramePr>
        <p:xfrm>
          <a:off x="663657" y="1408114"/>
          <a:ext cx="10872705" cy="4848380"/>
        </p:xfrm>
        <a:graphic>
          <a:graphicData uri="http://schemas.openxmlformats.org/drawingml/2006/table">
            <a:tbl>
              <a:tblPr firstRow="1" bandRow="1">
                <a:tableStyleId>{B301B821-A1FF-4177-AEE7-76D212191A09}</a:tableStyleId>
              </a:tblPr>
              <a:tblGrid>
                <a:gridCol w="2765343">
                  <a:extLst>
                    <a:ext uri="{9D8B030D-6E8A-4147-A177-3AD203B41FA5}">
                      <a16:colId xmlns:a16="http://schemas.microsoft.com/office/drawing/2014/main" val="2485569381"/>
                    </a:ext>
                  </a:extLst>
                </a:gridCol>
                <a:gridCol w="8107362">
                  <a:extLst>
                    <a:ext uri="{9D8B030D-6E8A-4147-A177-3AD203B41FA5}">
                      <a16:colId xmlns:a16="http://schemas.microsoft.com/office/drawing/2014/main" val="1277869328"/>
                    </a:ext>
                  </a:extLst>
                </a:gridCol>
              </a:tblGrid>
              <a:tr h="478144">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r>
                        <a:rPr lang="nl-BE" sz="1400"/>
                        <a:t>Detectable performance patterns</a:t>
                      </a:r>
                    </a:p>
                  </a:txBody>
                  <a:tcP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r>
                        <a:rPr lang="nl-BE" sz="1400"/>
                        <a:t>Details outputted</a:t>
                      </a:r>
                    </a:p>
                  </a:txBody>
                  <a:tcPr/>
                </a:tc>
                <a:extLst>
                  <a:ext uri="{0D108BD9-81ED-4DB2-BD59-A6C34878D82A}">
                    <a16:rowId xmlns:a16="http://schemas.microsoft.com/office/drawing/2014/main" val="536912243"/>
                  </a:ext>
                </a:extLst>
              </a:tr>
              <a:tr h="365639">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nl-BE" sz="1400" u="none" strike="noStrike">
                          <a:effectLst/>
                          <a:hlinkClick r:id="rId3"/>
                        </a:rPr>
                        <a:t>New Query</a:t>
                      </a:r>
                      <a:endParaRPr lang="nl-BE" sz="1400">
                        <a:effectLst/>
                      </a:endParaRPr>
                    </a:p>
                  </a:txBody>
                  <a:tcPr marL="101600" marR="101600" marT="76200" marB="76200"/>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400">
                          <a:effectLst/>
                        </a:rPr>
                        <a:t>A new query was detected, which affects overall SQL Database performance.</a:t>
                      </a:r>
                    </a:p>
                  </a:txBody>
                  <a:tcPr marL="101600" marR="101600" marT="76200" marB="76200"/>
                </a:tc>
                <a:extLst>
                  <a:ext uri="{0D108BD9-81ED-4DB2-BD59-A6C34878D82A}">
                    <a16:rowId xmlns:a16="http://schemas.microsoft.com/office/drawing/2014/main" val="3836986313"/>
                  </a:ext>
                </a:extLst>
              </a:tr>
              <a:tr h="365639">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nl-BE" sz="1400" u="none" strike="noStrike">
                          <a:effectLst/>
                          <a:hlinkClick r:id="rId4"/>
                        </a:rPr>
                        <a:t>Unusual Wait Statistic</a:t>
                      </a:r>
                      <a:endParaRPr lang="nl-BE" sz="1400">
                        <a:effectLst/>
                      </a:endParaRPr>
                    </a:p>
                  </a:txBody>
                  <a:tcPr marL="101600" marR="101600" marT="76200" marB="76200"/>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400" dirty="0">
                          <a:effectLst/>
                        </a:rPr>
                        <a:t>Unusual database wait times were detected, which affects SQL Database performance.</a:t>
                      </a:r>
                    </a:p>
                  </a:txBody>
                  <a:tcPr marL="101600" marR="101600" marT="76200" marB="76200"/>
                </a:tc>
                <a:extLst>
                  <a:ext uri="{0D108BD9-81ED-4DB2-BD59-A6C34878D82A}">
                    <a16:rowId xmlns:a16="http://schemas.microsoft.com/office/drawing/2014/main" val="3829603873"/>
                  </a:ext>
                </a:extLst>
              </a:tr>
              <a:tr h="59064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nl-BE" sz="1400" u="none" strike="noStrike">
                          <a:effectLst/>
                          <a:hlinkClick r:id="rId5"/>
                        </a:rPr>
                        <a:t>TempDB Contention</a:t>
                      </a:r>
                      <a:endParaRPr lang="nl-BE" sz="1400">
                        <a:effectLst/>
                      </a:endParaRPr>
                    </a:p>
                  </a:txBody>
                  <a:tcPr marL="101600" marR="101600" marT="76200" marB="76200"/>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400">
                          <a:effectLst/>
                        </a:rPr>
                        <a:t>Multiple threads try to access the same </a:t>
                      </a:r>
                      <a:r>
                        <a:rPr lang="en-US" sz="1400" err="1">
                          <a:effectLst/>
                        </a:rPr>
                        <a:t>tempDB</a:t>
                      </a:r>
                      <a:r>
                        <a:rPr lang="en-US" sz="1400">
                          <a:effectLst/>
                        </a:rPr>
                        <a:t> resources, which causes a bottleneck that affects SQL Database performance.</a:t>
                      </a:r>
                    </a:p>
                  </a:txBody>
                  <a:tcPr marL="101600" marR="101600" marT="76200" marB="76200"/>
                </a:tc>
                <a:extLst>
                  <a:ext uri="{0D108BD9-81ED-4DB2-BD59-A6C34878D82A}">
                    <a16:rowId xmlns:a16="http://schemas.microsoft.com/office/drawing/2014/main" val="2437744874"/>
                  </a:ext>
                </a:extLst>
              </a:tr>
              <a:tr h="52400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nl-BE" sz="1400" u="none" strike="noStrike">
                          <a:effectLst/>
                          <a:hlinkClick r:id="rId6"/>
                        </a:rPr>
                        <a:t>Elastic Pool DTU Shortage</a:t>
                      </a:r>
                      <a:endParaRPr lang="nl-BE" sz="1400">
                        <a:effectLst/>
                      </a:endParaRPr>
                    </a:p>
                  </a:txBody>
                  <a:tcPr marL="101600" marR="101600" marT="76200" marB="76200"/>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400">
                          <a:effectLst/>
                        </a:rPr>
                        <a:t>A shortage of available </a:t>
                      </a:r>
                      <a:r>
                        <a:rPr lang="en-US" sz="1400" err="1">
                          <a:effectLst/>
                        </a:rPr>
                        <a:t>eDTUs</a:t>
                      </a:r>
                      <a:r>
                        <a:rPr lang="en-US" sz="1400">
                          <a:effectLst/>
                        </a:rPr>
                        <a:t> in the elastic pool affects SQL Database performance.</a:t>
                      </a:r>
                    </a:p>
                  </a:txBody>
                  <a:tcPr marL="101600" marR="101600" marT="76200" marB="76200"/>
                </a:tc>
                <a:extLst>
                  <a:ext uri="{0D108BD9-81ED-4DB2-BD59-A6C34878D82A}">
                    <a16:rowId xmlns:a16="http://schemas.microsoft.com/office/drawing/2014/main" val="2204721961"/>
                  </a:ext>
                </a:extLst>
              </a:tr>
              <a:tr h="59064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nl-BE" sz="1400" u="none" strike="noStrike">
                          <a:effectLst/>
                          <a:hlinkClick r:id="rId7"/>
                        </a:rPr>
                        <a:t>Plan Regression</a:t>
                      </a:r>
                      <a:endParaRPr lang="nl-BE" sz="1400">
                        <a:effectLst/>
                      </a:endParaRPr>
                    </a:p>
                  </a:txBody>
                  <a:tcPr marL="101600" marR="101600" marT="76200" marB="76200"/>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400">
                          <a:effectLst/>
                        </a:rPr>
                        <a:t>A new plan or a change in the workload of an existing plan was detected, which affects SQL Database performance.</a:t>
                      </a:r>
                    </a:p>
                  </a:txBody>
                  <a:tcPr marL="101600" marR="101600" marT="76200" marB="76200"/>
                </a:tc>
                <a:extLst>
                  <a:ext uri="{0D108BD9-81ED-4DB2-BD59-A6C34878D82A}">
                    <a16:rowId xmlns:a16="http://schemas.microsoft.com/office/drawing/2014/main" val="334547231"/>
                  </a:ext>
                </a:extLst>
              </a:tr>
              <a:tr h="723629">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nl-BE" sz="1400" u="none" strike="noStrike">
                          <a:effectLst/>
                          <a:hlinkClick r:id="rId8"/>
                        </a:rPr>
                        <a:t>Database-Scoped Configuration Value Change</a:t>
                      </a:r>
                      <a:endParaRPr lang="nl-BE" sz="1400">
                        <a:effectLst/>
                      </a:endParaRPr>
                    </a:p>
                  </a:txBody>
                  <a:tcPr marL="101600" marR="101600" marT="76200" marB="76200"/>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400">
                          <a:effectLst/>
                        </a:rPr>
                        <a:t>A configuration change on the database affects SQL Database performance.</a:t>
                      </a:r>
                    </a:p>
                  </a:txBody>
                  <a:tcPr marL="101600" marR="101600" marT="76200" marB="76200"/>
                </a:tc>
                <a:extLst>
                  <a:ext uri="{0D108BD9-81ED-4DB2-BD59-A6C34878D82A}">
                    <a16:rowId xmlns:a16="http://schemas.microsoft.com/office/drawing/2014/main" val="597460632"/>
                  </a:ext>
                </a:extLst>
              </a:tr>
              <a:tr h="590648">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nl-BE" sz="1400" u="none" strike="noStrike">
                          <a:effectLst/>
                          <a:hlinkClick r:id="rId9"/>
                        </a:rPr>
                        <a:t>Slow Client</a:t>
                      </a:r>
                      <a:endParaRPr lang="nl-BE" sz="1400">
                        <a:effectLst/>
                      </a:endParaRPr>
                    </a:p>
                  </a:txBody>
                  <a:tcPr marL="101600" marR="101600" marT="76200" marB="76200"/>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400" dirty="0">
                          <a:effectLst/>
                        </a:rPr>
                        <a:t>A slow application client unable to consume output from the SQL Database fast enough was detected, which affects SQL Database performance.</a:t>
                      </a:r>
                    </a:p>
                  </a:txBody>
                  <a:tcPr marL="101600" marR="101600" marT="76200" marB="76200"/>
                </a:tc>
                <a:extLst>
                  <a:ext uri="{0D108BD9-81ED-4DB2-BD59-A6C34878D82A}">
                    <a16:rowId xmlns:a16="http://schemas.microsoft.com/office/drawing/2014/main" val="4061740623"/>
                  </a:ext>
                </a:extLst>
              </a:tr>
              <a:tr h="0">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algn="l" fontAlgn="t"/>
                      <a:r>
                        <a:rPr lang="nl-BE" sz="1400" u="none" strike="noStrike">
                          <a:effectLst/>
                          <a:hlinkClick r:id="rId10"/>
                        </a:rPr>
                        <a:t>Pricing Tier Downgrade</a:t>
                      </a:r>
                      <a:endParaRPr lang="nl-BE" sz="1400">
                        <a:effectLst/>
                      </a:endParaRPr>
                    </a:p>
                  </a:txBody>
                  <a:tcPr marL="101600" marR="101600" marT="76200" marB="76200"/>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400" dirty="0">
                          <a:effectLst/>
                        </a:rPr>
                        <a:t>A pricing tier downgrade action decreased available resources, which affects SQL Database performance.</a:t>
                      </a:r>
                    </a:p>
                  </a:txBody>
                  <a:tcPr marL="101600" marR="101600" marT="76200" marB="76200"/>
                </a:tc>
                <a:extLst>
                  <a:ext uri="{0D108BD9-81ED-4DB2-BD59-A6C34878D82A}">
                    <a16:rowId xmlns:a16="http://schemas.microsoft.com/office/drawing/2014/main" val="2789305595"/>
                  </a:ext>
                </a:extLst>
              </a:tr>
            </a:tbl>
          </a:graphicData>
        </a:graphic>
      </p:graphicFrame>
    </p:spTree>
    <p:extLst>
      <p:ext uri="{BB962C8B-B14F-4D97-AF65-F5344CB8AC3E}">
        <p14:creationId xmlns:p14="http://schemas.microsoft.com/office/powerpoint/2010/main" val="800665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D12A7-88C6-43B5-BACE-63605D6AA2D4}"/>
              </a:ext>
            </a:extLst>
          </p:cNvPr>
          <p:cNvSpPr>
            <a:spLocks noGrp="1"/>
          </p:cNvSpPr>
          <p:nvPr>
            <p:ph type="title"/>
          </p:nvPr>
        </p:nvSpPr>
        <p:spPr/>
        <p:txBody>
          <a:bodyPr/>
          <a:lstStyle/>
          <a:p>
            <a:r>
              <a:rPr lang="en-US" dirty="0"/>
              <a:t>Use Intelligent Insights</a:t>
            </a:r>
          </a:p>
        </p:txBody>
      </p:sp>
      <p:graphicFrame>
        <p:nvGraphicFramePr>
          <p:cNvPr id="5" name="Content Placeholder 4">
            <a:extLst>
              <a:ext uri="{FF2B5EF4-FFF2-40B4-BE49-F238E27FC236}">
                <a16:creationId xmlns:a16="http://schemas.microsoft.com/office/drawing/2014/main" id="{7ED4E0AB-7DCC-4BFD-8A85-33A31E02F1F6}"/>
              </a:ext>
            </a:extLst>
          </p:cNvPr>
          <p:cNvGraphicFramePr>
            <a:graphicFrameLocks noGrp="1"/>
          </p:cNvGraphicFramePr>
          <p:nvPr>
            <p:ph sz="quarter" idx="13"/>
            <p:extLst>
              <p:ext uri="{D42A27DB-BD31-4B8C-83A1-F6EECF244321}">
                <p14:modId xmlns:p14="http://schemas.microsoft.com/office/powerpoint/2010/main" val="284238067"/>
              </p:ext>
            </p:extLst>
          </p:nvPr>
        </p:nvGraphicFramePr>
        <p:xfrm>
          <a:off x="655638" y="1408114"/>
          <a:ext cx="43735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3AC43AA5-C20C-419F-956B-3987159CB0CD}"/>
              </a:ext>
            </a:extLst>
          </p:cNvPr>
          <p:cNvPicPr>
            <a:picLocks noChangeAspect="1"/>
          </p:cNvPicPr>
          <p:nvPr/>
        </p:nvPicPr>
        <p:blipFill>
          <a:blip r:embed="rId8"/>
          <a:stretch>
            <a:fillRect/>
          </a:stretch>
        </p:blipFill>
        <p:spPr>
          <a:xfrm>
            <a:off x="5188534" y="1571962"/>
            <a:ext cx="7003466" cy="4383086"/>
          </a:xfrm>
          <a:prstGeom prst="rect">
            <a:avLst/>
          </a:prstGeom>
        </p:spPr>
      </p:pic>
    </p:spTree>
    <p:extLst>
      <p:ext uri="{BB962C8B-B14F-4D97-AF65-F5344CB8AC3E}">
        <p14:creationId xmlns:p14="http://schemas.microsoft.com/office/powerpoint/2010/main" val="27249860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Azure SQL Analytics</a:t>
            </a:r>
            <a:endParaRPr lang="en-US" dirty="0"/>
          </a:p>
        </p:txBody>
      </p:sp>
      <p:pic>
        <p:nvPicPr>
          <p:cNvPr id="5" name="Picture 4">
            <a:extLst>
              <a:ext uri="{FF2B5EF4-FFF2-40B4-BE49-F238E27FC236}">
                <a16:creationId xmlns:a16="http://schemas.microsoft.com/office/drawing/2014/main" id="{8468691C-61FA-4134-AD5A-8EBDF4634B4D}"/>
              </a:ext>
            </a:extLst>
          </p:cNvPr>
          <p:cNvPicPr/>
          <p:nvPr/>
        </p:nvPicPr>
        <p:blipFill rotWithShape="1">
          <a:blip r:embed="rId3"/>
          <a:srcRect r="4359" b="-2"/>
          <a:stretch/>
        </p:blipFill>
        <p:spPr>
          <a:xfrm>
            <a:off x="655636" y="1408114"/>
            <a:ext cx="3306764" cy="4819650"/>
          </a:xfrm>
          <a:prstGeom prst="rect">
            <a:avLst/>
          </a:prstGeom>
        </p:spPr>
      </p:pic>
      <p:pic>
        <p:nvPicPr>
          <p:cNvPr id="6" name="Picture 5">
            <a:extLst>
              <a:ext uri="{FF2B5EF4-FFF2-40B4-BE49-F238E27FC236}">
                <a16:creationId xmlns:a16="http://schemas.microsoft.com/office/drawing/2014/main" id="{0377BE43-61F4-4FF9-96F3-46C11BB38120}"/>
              </a:ext>
            </a:extLst>
          </p:cNvPr>
          <p:cNvPicPr/>
          <p:nvPr/>
        </p:nvPicPr>
        <p:blipFill rotWithShape="1">
          <a:blip r:embed="rId4"/>
          <a:srcRect t="10678" r="2" b="41275"/>
          <a:stretch/>
        </p:blipFill>
        <p:spPr>
          <a:xfrm>
            <a:off x="5562600" y="1420026"/>
            <a:ext cx="6007290" cy="2986435"/>
          </a:xfrm>
          <a:prstGeom prst="rect">
            <a:avLst/>
          </a:prstGeom>
        </p:spPr>
      </p:pic>
      <p:sp>
        <p:nvSpPr>
          <p:cNvPr id="7" name="TextBox 6">
            <a:extLst>
              <a:ext uri="{FF2B5EF4-FFF2-40B4-BE49-F238E27FC236}">
                <a16:creationId xmlns:a16="http://schemas.microsoft.com/office/drawing/2014/main" id="{2A304515-80CC-430D-B41C-497177A9351C}"/>
              </a:ext>
            </a:extLst>
          </p:cNvPr>
          <p:cNvSpPr txBox="1"/>
          <p:nvPr/>
        </p:nvSpPr>
        <p:spPr>
          <a:xfrm>
            <a:off x="4114800" y="4666384"/>
            <a:ext cx="7421562" cy="1543179"/>
          </a:xfrm>
          <a:prstGeom prst="rect">
            <a:avLst/>
          </a:prstGeom>
          <a:noFill/>
        </p:spPr>
        <p:txBody>
          <a:bodyPr wrap="square" rtlCol="0">
            <a:spAutoFit/>
          </a:bodyPr>
          <a:lstStyle/>
          <a:p>
            <a:pPr marL="291380" indent="-291380" defTabSz="932418">
              <a:buFont typeface="Arial" panose="020B0604020202020204" pitchFamily="34" charset="0"/>
              <a:buChar char="•"/>
            </a:pPr>
            <a:r>
              <a:rPr lang="en-GB" sz="2000" dirty="0">
                <a:solidFill>
                  <a:prstClr val="black"/>
                </a:solidFill>
                <a:latin typeface="Segoe UI" panose="020B0502040204020203" pitchFamily="34" charset="0"/>
              </a:rPr>
              <a:t>Monitors performance at scale and across multiple subscriptions.</a:t>
            </a:r>
          </a:p>
          <a:p>
            <a:pPr marL="291380" indent="-291380" defTabSz="932418">
              <a:buFont typeface="Arial" panose="020B0604020202020204" pitchFamily="34" charset="0"/>
              <a:buChar char="•"/>
            </a:pPr>
            <a:r>
              <a:rPr lang="en-GB" sz="2000" dirty="0">
                <a:solidFill>
                  <a:prstClr val="black"/>
                </a:solidFill>
                <a:latin typeface="Segoe UI" panose="020B0502040204020203" pitchFamily="34" charset="0"/>
              </a:rPr>
              <a:t>Visualizes performance metrics of Azure SQL DB Singletons, shared pools and Managed Instances.</a:t>
            </a:r>
          </a:p>
          <a:p>
            <a:pPr marL="291380" indent="-291380" defTabSz="932418">
              <a:buFont typeface="Arial" panose="020B0604020202020204" pitchFamily="34" charset="0"/>
              <a:buChar char="•"/>
            </a:pPr>
            <a:endParaRPr lang="en-GB" sz="1428" dirty="0">
              <a:solidFill>
                <a:prstClr val="black"/>
              </a:solidFill>
              <a:latin typeface="Segoe UI" panose="020B0502040204020203" pitchFamily="34" charset="0"/>
            </a:endParaRPr>
          </a:p>
        </p:txBody>
      </p:sp>
    </p:spTree>
    <p:extLst>
      <p:ext uri="{BB962C8B-B14F-4D97-AF65-F5344CB8AC3E}">
        <p14:creationId xmlns:p14="http://schemas.microsoft.com/office/powerpoint/2010/main" val="38475150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85EB0-4498-448F-85B2-3114977F77BE}"/>
              </a:ext>
            </a:extLst>
          </p:cNvPr>
          <p:cNvSpPr>
            <a:spLocks noGrp="1"/>
          </p:cNvSpPr>
          <p:nvPr>
            <p:ph type="title"/>
          </p:nvPr>
        </p:nvSpPr>
        <p:spPr/>
        <p:txBody>
          <a:bodyPr/>
          <a:lstStyle/>
          <a:p>
            <a:r>
              <a:rPr lang="en-US" dirty="0"/>
              <a:t>Configure Diagnostics</a:t>
            </a:r>
          </a:p>
        </p:txBody>
      </p:sp>
      <p:sp>
        <p:nvSpPr>
          <p:cNvPr id="3" name="Content Placeholder 2">
            <a:extLst>
              <a:ext uri="{FF2B5EF4-FFF2-40B4-BE49-F238E27FC236}">
                <a16:creationId xmlns:a16="http://schemas.microsoft.com/office/drawing/2014/main" id="{14736545-6017-46AD-9DA9-3DA2FC57B53C}"/>
              </a:ext>
            </a:extLst>
          </p:cNvPr>
          <p:cNvSpPr>
            <a:spLocks noGrp="1"/>
          </p:cNvSpPr>
          <p:nvPr>
            <p:ph sz="quarter" idx="13"/>
          </p:nvPr>
        </p:nvSpPr>
        <p:spPr/>
        <p:txBody>
          <a:bodyPr/>
          <a:lstStyle/>
          <a:p>
            <a:endParaRPr lang="en-US"/>
          </a:p>
        </p:txBody>
      </p:sp>
      <p:pic>
        <p:nvPicPr>
          <p:cNvPr id="4" name="Picture 3">
            <a:extLst>
              <a:ext uri="{FF2B5EF4-FFF2-40B4-BE49-F238E27FC236}">
                <a16:creationId xmlns:a16="http://schemas.microsoft.com/office/drawing/2014/main" id="{A92633A8-BCDB-4F2D-83BA-9BE732178E8B}"/>
              </a:ext>
            </a:extLst>
          </p:cNvPr>
          <p:cNvPicPr/>
          <p:nvPr/>
        </p:nvPicPr>
        <p:blipFill>
          <a:blip r:embed="rId3"/>
          <a:stretch>
            <a:fillRect/>
          </a:stretch>
        </p:blipFill>
        <p:spPr>
          <a:xfrm>
            <a:off x="655636" y="1408115"/>
            <a:ext cx="2468564" cy="4819650"/>
          </a:xfrm>
          <a:prstGeom prst="rect">
            <a:avLst/>
          </a:prstGeom>
        </p:spPr>
      </p:pic>
      <p:pic>
        <p:nvPicPr>
          <p:cNvPr id="5" name="Picture 4">
            <a:extLst>
              <a:ext uri="{FF2B5EF4-FFF2-40B4-BE49-F238E27FC236}">
                <a16:creationId xmlns:a16="http://schemas.microsoft.com/office/drawing/2014/main" id="{2B6E2088-717F-4F0A-8C62-DE02470C5DAB}"/>
              </a:ext>
            </a:extLst>
          </p:cNvPr>
          <p:cNvPicPr/>
          <p:nvPr/>
        </p:nvPicPr>
        <p:blipFill>
          <a:blip r:embed="rId4"/>
          <a:stretch>
            <a:fillRect/>
          </a:stretch>
        </p:blipFill>
        <p:spPr>
          <a:xfrm>
            <a:off x="3574516" y="3094597"/>
            <a:ext cx="4467925" cy="1772291"/>
          </a:xfrm>
          <a:prstGeom prst="rect">
            <a:avLst/>
          </a:prstGeom>
        </p:spPr>
      </p:pic>
      <p:pic>
        <p:nvPicPr>
          <p:cNvPr id="6" name="Picture 5">
            <a:extLst>
              <a:ext uri="{FF2B5EF4-FFF2-40B4-BE49-F238E27FC236}">
                <a16:creationId xmlns:a16="http://schemas.microsoft.com/office/drawing/2014/main" id="{61DA1644-BA4B-4311-8364-1FFC6E7B156D}"/>
              </a:ext>
            </a:extLst>
          </p:cNvPr>
          <p:cNvPicPr/>
          <p:nvPr/>
        </p:nvPicPr>
        <p:blipFill>
          <a:blip r:embed="rId5"/>
          <a:stretch>
            <a:fillRect/>
          </a:stretch>
        </p:blipFill>
        <p:spPr>
          <a:xfrm>
            <a:off x="3558502" y="1408109"/>
            <a:ext cx="4593577" cy="1653693"/>
          </a:xfrm>
          <a:prstGeom prst="rect">
            <a:avLst/>
          </a:prstGeom>
        </p:spPr>
      </p:pic>
      <p:pic>
        <p:nvPicPr>
          <p:cNvPr id="7" name="Picture 6">
            <a:extLst>
              <a:ext uri="{FF2B5EF4-FFF2-40B4-BE49-F238E27FC236}">
                <a16:creationId xmlns:a16="http://schemas.microsoft.com/office/drawing/2014/main" id="{4D7D9AFA-634A-4608-BE93-7CF34987ED5B}"/>
              </a:ext>
            </a:extLst>
          </p:cNvPr>
          <p:cNvPicPr>
            <a:picLocks noChangeAspect="1"/>
          </p:cNvPicPr>
          <p:nvPr/>
        </p:nvPicPr>
        <p:blipFill>
          <a:blip r:embed="rId6"/>
          <a:stretch>
            <a:fillRect/>
          </a:stretch>
        </p:blipFill>
        <p:spPr>
          <a:xfrm>
            <a:off x="8365925" y="1408109"/>
            <a:ext cx="3202010" cy="4819651"/>
          </a:xfrm>
          <a:prstGeom prst="rect">
            <a:avLst/>
          </a:prstGeom>
        </p:spPr>
      </p:pic>
      <p:pic>
        <p:nvPicPr>
          <p:cNvPr id="8" name="Picture 7">
            <a:extLst>
              <a:ext uri="{FF2B5EF4-FFF2-40B4-BE49-F238E27FC236}">
                <a16:creationId xmlns:a16="http://schemas.microsoft.com/office/drawing/2014/main" id="{DDBDFF27-B917-4E79-A03E-A11FAFEDBB22}"/>
              </a:ext>
            </a:extLst>
          </p:cNvPr>
          <p:cNvPicPr/>
          <p:nvPr/>
        </p:nvPicPr>
        <p:blipFill>
          <a:blip r:embed="rId7"/>
          <a:stretch>
            <a:fillRect/>
          </a:stretch>
        </p:blipFill>
        <p:spPr>
          <a:xfrm>
            <a:off x="3573591" y="5029200"/>
            <a:ext cx="4467924" cy="1198564"/>
          </a:xfrm>
          <a:prstGeom prst="rect">
            <a:avLst/>
          </a:prstGeom>
        </p:spPr>
      </p:pic>
    </p:spTree>
    <p:extLst>
      <p:ext uri="{BB962C8B-B14F-4D97-AF65-F5344CB8AC3E}">
        <p14:creationId xmlns:p14="http://schemas.microsoft.com/office/powerpoint/2010/main" val="2166726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Intelligent Insight</a:t>
            </a:r>
          </a:p>
          <a:p>
            <a:pPr marL="571500" lvl="1" indent="-342900">
              <a:buFont typeface="Arial" panose="020B0604020202020204" pitchFamily="34" charset="0"/>
              <a:buChar char="•"/>
            </a:pPr>
            <a:r>
              <a:rPr lang="en-US" dirty="0"/>
              <a:t>Azure SQL Database metrics and diagnostics logging stream into Log Analytic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638635031"/>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737308256"/>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9097962" cy="604798"/>
          </a:xfrm>
        </p:spPr>
        <p:txBody>
          <a:bodyPr/>
          <a:lstStyle/>
          <a:p>
            <a:r>
              <a:rPr lang="en-US" dirty="0"/>
              <a:t>Lesson 1: Monitoring and Troubleshooting Azure SQL Database</a:t>
            </a:r>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771199533"/>
              </p:ext>
            </p:extLst>
          </p:nvPr>
        </p:nvGraphicFramePr>
        <p:xfrm>
          <a:off x="655638" y="1408113"/>
          <a:ext cx="10880725" cy="3316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42745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E922B38C-D007-46D8-9A79-C8E951BC8385}"/>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4863A2C3-811B-4575-B639-51357EF0C004}"/>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5: Monitoring Azure SQL Database Performance using Extended Events</a:t>
            </a:r>
          </a:p>
        </p:txBody>
      </p:sp>
    </p:spTree>
    <p:extLst>
      <p:ext uri="{BB962C8B-B14F-4D97-AF65-F5344CB8AC3E}">
        <p14:creationId xmlns:p14="http://schemas.microsoft.com/office/powerpoint/2010/main" val="3035780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se extended events for troubleshooting performance issu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45377194"/>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02A2C1-5EED-4CF6-8BEF-943406275727}"/>
              </a:ext>
            </a:extLst>
          </p:cNvPr>
          <p:cNvSpPr>
            <a:spLocks noGrp="1"/>
          </p:cNvSpPr>
          <p:nvPr>
            <p:ph type="title"/>
          </p:nvPr>
        </p:nvSpPr>
        <p:spPr>
          <a:xfrm>
            <a:off x="655638" y="320040"/>
            <a:ext cx="10880725" cy="461665"/>
          </a:xfrm>
        </p:spPr>
        <p:txBody>
          <a:bodyPr wrap="square" anchor="t">
            <a:normAutofit/>
          </a:bodyPr>
          <a:lstStyle/>
          <a:p>
            <a:r>
              <a:rPr lang="en-US"/>
              <a:t>Why XEvent?</a:t>
            </a:r>
          </a:p>
        </p:txBody>
      </p:sp>
      <p:graphicFrame>
        <p:nvGraphicFramePr>
          <p:cNvPr id="5" name="Content Placeholder 2">
            <a:extLst>
              <a:ext uri="{FF2B5EF4-FFF2-40B4-BE49-F238E27FC236}">
                <a16:creationId xmlns:a16="http://schemas.microsoft.com/office/drawing/2014/main" id="{3C099FF4-09AF-437A-88CF-138C05E892A0}"/>
              </a:ext>
            </a:extLst>
          </p:cNvPr>
          <p:cNvGraphicFramePr>
            <a:graphicFrameLocks noGrp="1"/>
          </p:cNvGraphicFramePr>
          <p:nvPr>
            <p:ph sz="quarter" idx="13"/>
            <p:extLst>
              <p:ext uri="{D42A27DB-BD31-4B8C-83A1-F6EECF244321}">
                <p14:modId xmlns:p14="http://schemas.microsoft.com/office/powerpoint/2010/main" val="2596317029"/>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414723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02A2C1-5EED-4CF6-8BEF-943406275727}"/>
              </a:ext>
            </a:extLst>
          </p:cNvPr>
          <p:cNvSpPr>
            <a:spLocks noGrp="1"/>
          </p:cNvSpPr>
          <p:nvPr>
            <p:ph type="title"/>
          </p:nvPr>
        </p:nvSpPr>
        <p:spPr/>
        <p:txBody>
          <a:bodyPr/>
          <a:lstStyle/>
          <a:p>
            <a:r>
              <a:rPr lang="en-US" dirty="0" err="1"/>
              <a:t>XEvents</a:t>
            </a:r>
            <a:r>
              <a:rPr lang="en-US" dirty="0"/>
              <a:t> Objects Explained</a:t>
            </a:r>
          </a:p>
        </p:txBody>
      </p:sp>
      <p:graphicFrame>
        <p:nvGraphicFramePr>
          <p:cNvPr id="4" name="Content Placeholder 3">
            <a:extLst>
              <a:ext uri="{FF2B5EF4-FFF2-40B4-BE49-F238E27FC236}">
                <a16:creationId xmlns:a16="http://schemas.microsoft.com/office/drawing/2014/main" id="{C010948A-CA5F-4FF0-BE90-4036E70511A4}"/>
              </a:ext>
            </a:extLst>
          </p:cNvPr>
          <p:cNvGraphicFramePr>
            <a:graphicFrameLocks noGrp="1"/>
          </p:cNvGraphicFramePr>
          <p:nvPr>
            <p:ph sz="quarter" idx="13"/>
            <p:extLst>
              <p:ext uri="{D42A27DB-BD31-4B8C-83A1-F6EECF244321}">
                <p14:modId xmlns:p14="http://schemas.microsoft.com/office/powerpoint/2010/main" val="3084084668"/>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402993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02A2C1-5EED-4CF6-8BEF-943406275727}"/>
              </a:ext>
            </a:extLst>
          </p:cNvPr>
          <p:cNvSpPr>
            <a:spLocks noGrp="1"/>
          </p:cNvSpPr>
          <p:nvPr>
            <p:ph type="title"/>
          </p:nvPr>
        </p:nvSpPr>
        <p:spPr/>
        <p:txBody>
          <a:bodyPr/>
          <a:lstStyle/>
          <a:p>
            <a:r>
              <a:rPr lang="en-US" dirty="0" err="1"/>
              <a:t>XEvents</a:t>
            </a:r>
            <a:r>
              <a:rPr lang="en-US" dirty="0"/>
              <a:t> Usage Scenarios</a:t>
            </a:r>
          </a:p>
        </p:txBody>
      </p:sp>
      <p:graphicFrame>
        <p:nvGraphicFramePr>
          <p:cNvPr id="4" name="Content Placeholder 3">
            <a:extLst>
              <a:ext uri="{FF2B5EF4-FFF2-40B4-BE49-F238E27FC236}">
                <a16:creationId xmlns:a16="http://schemas.microsoft.com/office/drawing/2014/main" id="{E1A9A53E-CA74-4AA2-9AC2-F71FC08FDEDD}"/>
              </a:ext>
            </a:extLst>
          </p:cNvPr>
          <p:cNvGraphicFramePr>
            <a:graphicFrameLocks noGrp="1"/>
          </p:cNvGraphicFramePr>
          <p:nvPr>
            <p:ph sz="quarter" idx="13"/>
            <p:extLst>
              <p:ext uri="{D42A27DB-BD31-4B8C-83A1-F6EECF244321}">
                <p14:modId xmlns:p14="http://schemas.microsoft.com/office/powerpoint/2010/main" val="2411304732"/>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758005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02A2C1-5EED-4CF6-8BEF-943406275727}"/>
              </a:ext>
            </a:extLst>
          </p:cNvPr>
          <p:cNvSpPr>
            <a:spLocks noGrp="1"/>
          </p:cNvSpPr>
          <p:nvPr>
            <p:ph type="title"/>
          </p:nvPr>
        </p:nvSpPr>
        <p:spPr/>
        <p:txBody>
          <a:bodyPr/>
          <a:lstStyle/>
          <a:p>
            <a:r>
              <a:rPr lang="en-US" dirty="0"/>
              <a:t>How to enable Extended Events</a:t>
            </a:r>
          </a:p>
        </p:txBody>
      </p:sp>
      <p:graphicFrame>
        <p:nvGraphicFramePr>
          <p:cNvPr id="4" name="Content Placeholder 3">
            <a:extLst>
              <a:ext uri="{FF2B5EF4-FFF2-40B4-BE49-F238E27FC236}">
                <a16:creationId xmlns:a16="http://schemas.microsoft.com/office/drawing/2014/main" id="{714ACAEC-9E8B-4A03-9EED-D8B79A5F0FD9}"/>
              </a:ext>
            </a:extLst>
          </p:cNvPr>
          <p:cNvGraphicFramePr>
            <a:graphicFrameLocks noGrp="1"/>
          </p:cNvGraphicFramePr>
          <p:nvPr>
            <p:ph sz="quarter" idx="13"/>
            <p:extLst>
              <p:ext uri="{D42A27DB-BD31-4B8C-83A1-F6EECF244321}">
                <p14:modId xmlns:p14="http://schemas.microsoft.com/office/powerpoint/2010/main" val="2106305647"/>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2449939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02A2C1-5EED-4CF6-8BEF-943406275727}"/>
              </a:ext>
            </a:extLst>
          </p:cNvPr>
          <p:cNvSpPr>
            <a:spLocks noGrp="1"/>
          </p:cNvSpPr>
          <p:nvPr>
            <p:ph type="title"/>
          </p:nvPr>
        </p:nvSpPr>
        <p:spPr/>
        <p:txBody>
          <a:bodyPr/>
          <a:lstStyle/>
          <a:p>
            <a:r>
              <a:rPr lang="en-US" dirty="0"/>
              <a:t>Storage Container Authorizations</a:t>
            </a:r>
          </a:p>
        </p:txBody>
      </p:sp>
      <p:graphicFrame>
        <p:nvGraphicFramePr>
          <p:cNvPr id="4" name="Content Placeholder 3">
            <a:extLst>
              <a:ext uri="{FF2B5EF4-FFF2-40B4-BE49-F238E27FC236}">
                <a16:creationId xmlns:a16="http://schemas.microsoft.com/office/drawing/2014/main" id="{7A64B84F-B65F-4A59-9DFF-E4023C06A7D4}"/>
              </a:ext>
            </a:extLst>
          </p:cNvPr>
          <p:cNvGraphicFramePr>
            <a:graphicFrameLocks noGrp="1"/>
          </p:cNvGraphicFramePr>
          <p:nvPr>
            <p:ph sz="quarter" idx="13"/>
            <p:extLst>
              <p:ext uri="{D42A27DB-BD31-4B8C-83A1-F6EECF244321}">
                <p14:modId xmlns:p14="http://schemas.microsoft.com/office/powerpoint/2010/main" val="2439489833"/>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8774132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02A2C1-5EED-4CF6-8BEF-943406275727}"/>
              </a:ext>
            </a:extLst>
          </p:cNvPr>
          <p:cNvSpPr>
            <a:spLocks noGrp="1"/>
          </p:cNvSpPr>
          <p:nvPr>
            <p:ph type="title"/>
          </p:nvPr>
        </p:nvSpPr>
        <p:spPr/>
        <p:txBody>
          <a:bodyPr/>
          <a:lstStyle/>
          <a:p>
            <a:r>
              <a:rPr lang="en-US" dirty="0"/>
              <a:t>Collect Data Using Extended Events</a:t>
            </a:r>
          </a:p>
        </p:txBody>
      </p:sp>
      <p:sp>
        <p:nvSpPr>
          <p:cNvPr id="4" name="Rectangle 6">
            <a:extLst>
              <a:ext uri="{FF2B5EF4-FFF2-40B4-BE49-F238E27FC236}">
                <a16:creationId xmlns:a16="http://schemas.microsoft.com/office/drawing/2014/main" id="{357634A2-C334-4D38-84D5-60D3EC4347F3}"/>
              </a:ext>
            </a:extLst>
          </p:cNvPr>
          <p:cNvSpPr>
            <a:spLocks noChangeArrowheads="1"/>
          </p:cNvSpPr>
          <p:nvPr/>
        </p:nvSpPr>
        <p:spPr bwMode="auto">
          <a:xfrm>
            <a:off x="1971601" y="4016874"/>
            <a:ext cx="177701" cy="3823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60" tIns="46630" rIns="93260" bIns="46630" numCol="1" anchor="ctr" anchorCtr="0" compatLnSpc="1">
            <a:prstTxWarp prst="textNoShape">
              <a:avLst/>
            </a:prstTxWarp>
            <a:spAutoFit/>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aphicFrame>
        <p:nvGraphicFramePr>
          <p:cNvPr id="5" name="Diagram 4">
            <a:extLst>
              <a:ext uri="{FF2B5EF4-FFF2-40B4-BE49-F238E27FC236}">
                <a16:creationId xmlns:a16="http://schemas.microsoft.com/office/drawing/2014/main" id="{56A40BD8-D4C3-43A6-9C60-6217248992AD}"/>
              </a:ext>
            </a:extLst>
          </p:cNvPr>
          <p:cNvGraphicFramePr/>
          <p:nvPr>
            <p:extLst>
              <p:ext uri="{D42A27DB-BD31-4B8C-83A1-F6EECF244321}">
                <p14:modId xmlns:p14="http://schemas.microsoft.com/office/powerpoint/2010/main" val="944301332"/>
              </p:ext>
            </p:extLst>
          </p:nvPr>
        </p:nvGraphicFramePr>
        <p:xfrm>
          <a:off x="655870" y="1371600"/>
          <a:ext cx="10774130" cy="49229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708378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Extended Events</a:t>
            </a:r>
          </a:p>
          <a:p>
            <a:pPr marL="571500" lvl="1" indent="-342900">
              <a:buFont typeface="Arial" panose="020B0604020202020204" pitchFamily="34" charset="0"/>
              <a:buChar char="•"/>
            </a:pPr>
            <a:r>
              <a:rPr lang="en-US" dirty="0"/>
              <a:t>Create Extended Events session using SSMS.</a:t>
            </a:r>
          </a:p>
          <a:p>
            <a:pPr marL="571500" lvl="1" indent="-342900">
              <a:buFont typeface="Arial" panose="020B0604020202020204" pitchFamily="34" charset="0"/>
              <a:buChar char="•"/>
            </a:pPr>
            <a:r>
              <a:rPr lang="en-US" dirty="0"/>
              <a:t>View Extended Events session.</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2401107922"/>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Know the various options to monitor and troubleshoot the Azure SQL Databas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Monitoring Azure SQL Database Performance using Extended Event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b="1" dirty="0"/>
              <a:t>Exercise 1: </a:t>
            </a:r>
            <a:r>
              <a:rPr lang="en-US" dirty="0"/>
              <a:t>Monitor Azure SQL Database using Extended Events.</a:t>
            </a:r>
          </a:p>
          <a:p>
            <a:endParaRPr lang="en-US" dirty="0"/>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830604392"/>
      </p:ext>
    </p:extLst>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951948364"/>
      </p:ext>
    </p:extLst>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851837047"/>
              </p:ext>
            </p:extLst>
          </p:nvPr>
        </p:nvGraphicFramePr>
        <p:xfrm>
          <a:off x="655638" y="1408113"/>
          <a:ext cx="10880725" cy="26304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98375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E922B38C-D007-46D8-9A79-C8E951BC8385}"/>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9859962" cy="604798"/>
          </a:xfrm>
        </p:spPr>
        <p:txBody>
          <a:bodyPr/>
          <a:lstStyle/>
          <a:p>
            <a:r>
              <a:rPr lang="en-US" dirty="0"/>
              <a:t>Lesson 6: Configure Alerts through Azure Portal</a:t>
            </a:r>
          </a:p>
        </p:txBody>
      </p:sp>
    </p:spTree>
    <p:extLst>
      <p:ext uri="{BB962C8B-B14F-4D97-AF65-F5344CB8AC3E}">
        <p14:creationId xmlns:p14="http://schemas.microsoft.com/office/powerpoint/2010/main" val="205188312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Configure alerts using Azure Management Portal.</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434268549"/>
      </p:ext>
    </p:ext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B635F-F687-4B74-899D-5741B3D47B95}"/>
              </a:ext>
            </a:extLst>
          </p:cNvPr>
          <p:cNvSpPr>
            <a:spLocks noGrp="1"/>
          </p:cNvSpPr>
          <p:nvPr>
            <p:ph type="title"/>
          </p:nvPr>
        </p:nvSpPr>
        <p:spPr/>
        <p:txBody>
          <a:bodyPr/>
          <a:lstStyle/>
          <a:p>
            <a:r>
              <a:rPr lang="en-US"/>
              <a:t>Purpose of Alerts for Azure SQL Database</a:t>
            </a:r>
          </a:p>
        </p:txBody>
      </p:sp>
      <p:graphicFrame>
        <p:nvGraphicFramePr>
          <p:cNvPr id="4" name="Content Placeholder 3">
            <a:extLst>
              <a:ext uri="{FF2B5EF4-FFF2-40B4-BE49-F238E27FC236}">
                <a16:creationId xmlns:a16="http://schemas.microsoft.com/office/drawing/2014/main" id="{EC5DB4E3-48E3-4CC8-AFC4-EF6B9F6C959B}"/>
              </a:ext>
            </a:extLst>
          </p:cNvPr>
          <p:cNvGraphicFramePr>
            <a:graphicFrameLocks noGrp="1"/>
          </p:cNvGraphicFramePr>
          <p:nvPr>
            <p:ph sz="quarter" idx="13"/>
            <p:extLst>
              <p:ext uri="{D42A27DB-BD31-4B8C-83A1-F6EECF244321}">
                <p14:modId xmlns:p14="http://schemas.microsoft.com/office/powerpoint/2010/main" val="3531157749"/>
              </p:ext>
            </p:extLst>
          </p:nvPr>
        </p:nvGraphicFramePr>
        <p:xfrm>
          <a:off x="655638" y="1408114"/>
          <a:ext cx="10880726" cy="2401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989141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B635F-F687-4B74-899D-5741B3D47B95}"/>
              </a:ext>
            </a:extLst>
          </p:cNvPr>
          <p:cNvSpPr>
            <a:spLocks noGrp="1"/>
          </p:cNvSpPr>
          <p:nvPr>
            <p:ph type="title"/>
          </p:nvPr>
        </p:nvSpPr>
        <p:spPr/>
        <p:txBody>
          <a:bodyPr/>
          <a:lstStyle/>
          <a:p>
            <a:r>
              <a:rPr lang="en-US" dirty="0"/>
              <a:t>Receiving an alert based on monitoring metrics or events on</a:t>
            </a:r>
          </a:p>
        </p:txBody>
      </p:sp>
      <p:graphicFrame>
        <p:nvGraphicFramePr>
          <p:cNvPr id="4" name="Content Placeholder 3">
            <a:extLst>
              <a:ext uri="{FF2B5EF4-FFF2-40B4-BE49-F238E27FC236}">
                <a16:creationId xmlns:a16="http://schemas.microsoft.com/office/drawing/2014/main" id="{D6E1570D-B47B-416F-A4B6-5B8579F2C28F}"/>
              </a:ext>
            </a:extLst>
          </p:cNvPr>
          <p:cNvGraphicFramePr>
            <a:graphicFrameLocks noGrp="1"/>
          </p:cNvGraphicFramePr>
          <p:nvPr>
            <p:ph sz="quarter" idx="13"/>
            <p:extLst>
              <p:ext uri="{D42A27DB-BD31-4B8C-83A1-F6EECF244321}">
                <p14:modId xmlns:p14="http://schemas.microsoft.com/office/powerpoint/2010/main" val="426812131"/>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466016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B635F-F687-4B74-899D-5741B3D47B95}"/>
              </a:ext>
            </a:extLst>
          </p:cNvPr>
          <p:cNvSpPr>
            <a:spLocks noGrp="1"/>
          </p:cNvSpPr>
          <p:nvPr>
            <p:ph type="title"/>
          </p:nvPr>
        </p:nvSpPr>
        <p:spPr/>
        <p:txBody>
          <a:bodyPr/>
          <a:lstStyle/>
          <a:p>
            <a:r>
              <a:rPr lang="en-US" dirty="0"/>
              <a:t>Purpose of Alerts for Azure SQL Database</a:t>
            </a:r>
          </a:p>
        </p:txBody>
      </p:sp>
      <p:graphicFrame>
        <p:nvGraphicFramePr>
          <p:cNvPr id="4" name="Content Placeholder 3">
            <a:extLst>
              <a:ext uri="{FF2B5EF4-FFF2-40B4-BE49-F238E27FC236}">
                <a16:creationId xmlns:a16="http://schemas.microsoft.com/office/drawing/2014/main" id="{127279D7-1651-4E95-802B-BB50DE0D437A}"/>
              </a:ext>
            </a:extLst>
          </p:cNvPr>
          <p:cNvGraphicFramePr>
            <a:graphicFrameLocks noGrp="1"/>
          </p:cNvGraphicFramePr>
          <p:nvPr>
            <p:ph sz="quarter" idx="13"/>
            <p:extLst>
              <p:ext uri="{D42A27DB-BD31-4B8C-83A1-F6EECF244321}">
                <p14:modId xmlns:p14="http://schemas.microsoft.com/office/powerpoint/2010/main" val="3145146747"/>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7982880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B635F-F687-4B74-899D-5741B3D47B95}"/>
              </a:ext>
            </a:extLst>
          </p:cNvPr>
          <p:cNvSpPr>
            <a:spLocks noGrp="1"/>
          </p:cNvSpPr>
          <p:nvPr>
            <p:ph type="title"/>
          </p:nvPr>
        </p:nvSpPr>
        <p:spPr/>
        <p:txBody>
          <a:bodyPr/>
          <a:lstStyle/>
          <a:p>
            <a:r>
              <a:rPr lang="en-US" dirty="0"/>
              <a:t>SQL Database alert values</a:t>
            </a:r>
          </a:p>
        </p:txBody>
      </p:sp>
      <p:graphicFrame>
        <p:nvGraphicFramePr>
          <p:cNvPr id="7" name="Table 6">
            <a:extLst>
              <a:ext uri="{FF2B5EF4-FFF2-40B4-BE49-F238E27FC236}">
                <a16:creationId xmlns:a16="http://schemas.microsoft.com/office/drawing/2014/main" id="{80CB663F-A664-4D13-B6BF-AAC883034B13}"/>
              </a:ext>
            </a:extLst>
          </p:cNvPr>
          <p:cNvGraphicFramePr>
            <a:graphicFrameLocks noGrp="1"/>
          </p:cNvGraphicFramePr>
          <p:nvPr>
            <p:extLst>
              <p:ext uri="{D42A27DB-BD31-4B8C-83A1-F6EECF244321}">
                <p14:modId xmlns:p14="http://schemas.microsoft.com/office/powerpoint/2010/main" val="2991425484"/>
              </p:ext>
            </p:extLst>
          </p:nvPr>
        </p:nvGraphicFramePr>
        <p:xfrm>
          <a:off x="762000" y="1219200"/>
          <a:ext cx="10672128" cy="5331808"/>
        </p:xfrm>
        <a:graphic>
          <a:graphicData uri="http://schemas.openxmlformats.org/drawingml/2006/table">
            <a:tbl>
              <a:tblPr firstRow="1" bandRow="1">
                <a:tableStyleId>{B301B821-A1FF-4177-AEE7-76D212191A09}</a:tableStyleId>
              </a:tblPr>
              <a:tblGrid>
                <a:gridCol w="4061188">
                  <a:extLst>
                    <a:ext uri="{9D8B030D-6E8A-4147-A177-3AD203B41FA5}">
                      <a16:colId xmlns:a16="http://schemas.microsoft.com/office/drawing/2014/main" val="1523435160"/>
                    </a:ext>
                  </a:extLst>
                </a:gridCol>
                <a:gridCol w="3010137">
                  <a:extLst>
                    <a:ext uri="{9D8B030D-6E8A-4147-A177-3AD203B41FA5}">
                      <a16:colId xmlns:a16="http://schemas.microsoft.com/office/drawing/2014/main" val="2943749789"/>
                    </a:ext>
                  </a:extLst>
                </a:gridCol>
                <a:gridCol w="3600803">
                  <a:extLst>
                    <a:ext uri="{9D8B030D-6E8A-4147-A177-3AD203B41FA5}">
                      <a16:colId xmlns:a16="http://schemas.microsoft.com/office/drawing/2014/main" val="1660173354"/>
                    </a:ext>
                  </a:extLst>
                </a:gridCol>
              </a:tblGrid>
              <a:tr h="302608">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r>
                        <a:rPr lang="nl-BE" sz="1200" dirty="0"/>
                        <a:t>Metric Name</a:t>
                      </a:r>
                    </a:p>
                  </a:txBody>
                  <a:tcPr anchor="ct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r>
                        <a:rPr lang="nl-BE" sz="1200" dirty="0"/>
                        <a:t>Aggregation Type</a:t>
                      </a:r>
                    </a:p>
                  </a:txBody>
                  <a:tcPr anchor="ctr"/>
                </a:tc>
                <a:tc>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r>
                        <a:rPr lang="nl-BE" sz="1200" dirty="0"/>
                        <a:t>Minimum Alert Time Window</a:t>
                      </a:r>
                    </a:p>
                  </a:txBody>
                  <a:tcPr anchor="ctr"/>
                </a:tc>
                <a:extLst>
                  <a:ext uri="{0D108BD9-81ED-4DB2-BD59-A6C34878D82A}">
                    <a16:rowId xmlns:a16="http://schemas.microsoft.com/office/drawing/2014/main" val="1650020078"/>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CPU percent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100260127"/>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Data IO percent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3561235282"/>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Log IO percent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784360551"/>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DTU percent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1396234404"/>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Total database siz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Maximum</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30 minutes</a:t>
                      </a:r>
                    </a:p>
                  </a:txBody>
                  <a:tcPr marL="101600" marR="101600" marT="76200" marB="76200" anchor="ctr"/>
                </a:tc>
                <a:extLst>
                  <a:ext uri="{0D108BD9-81ED-4DB2-BD59-A6C34878D82A}">
                    <a16:rowId xmlns:a16="http://schemas.microsoft.com/office/drawing/2014/main" val="2427411528"/>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Successful Connections</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Total</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10 minutes</a:t>
                      </a:r>
                    </a:p>
                  </a:txBody>
                  <a:tcPr marL="101600" marR="101600" marT="76200" marB="76200" anchor="ctr"/>
                </a:tc>
                <a:extLst>
                  <a:ext uri="{0D108BD9-81ED-4DB2-BD59-A6C34878D82A}">
                    <a16:rowId xmlns:a16="http://schemas.microsoft.com/office/drawing/2014/main" val="2338336002"/>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Failed Connections</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Total</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10 minutes</a:t>
                      </a:r>
                    </a:p>
                  </a:txBody>
                  <a:tcPr marL="101600" marR="101600" marT="76200" marB="76200" anchor="ctr"/>
                </a:tc>
                <a:extLst>
                  <a:ext uri="{0D108BD9-81ED-4DB2-BD59-A6C34878D82A}">
                    <a16:rowId xmlns:a16="http://schemas.microsoft.com/office/drawing/2014/main" val="3339732891"/>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Blocked by Firewall</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Total</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10 minutes</a:t>
                      </a:r>
                    </a:p>
                  </a:txBody>
                  <a:tcPr marL="101600" marR="101600" marT="76200" marB="76200" anchor="ctr"/>
                </a:tc>
                <a:extLst>
                  <a:ext uri="{0D108BD9-81ED-4DB2-BD59-A6C34878D82A}">
                    <a16:rowId xmlns:a16="http://schemas.microsoft.com/office/drawing/2014/main" val="4058425975"/>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Deadlocks</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Total</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10 minutes</a:t>
                      </a:r>
                    </a:p>
                  </a:txBody>
                  <a:tcPr marL="101600" marR="101600" marT="76200" marB="76200" anchor="ctr"/>
                </a:tc>
                <a:extLst>
                  <a:ext uri="{0D108BD9-81ED-4DB2-BD59-A6C34878D82A}">
                    <a16:rowId xmlns:a16="http://schemas.microsoft.com/office/drawing/2014/main" val="480648624"/>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Database size percent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Maximum</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30 minutes</a:t>
                      </a:r>
                    </a:p>
                  </a:txBody>
                  <a:tcPr marL="101600" marR="101600" marT="76200" marB="76200" anchor="ctr"/>
                </a:tc>
                <a:extLst>
                  <a:ext uri="{0D108BD9-81ED-4DB2-BD59-A6C34878D82A}">
                    <a16:rowId xmlns:a16="http://schemas.microsoft.com/office/drawing/2014/main" val="1162220380"/>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en-US" sz="1200" dirty="0">
                          <a:effectLst/>
                        </a:rPr>
                        <a:t>In-Memory OLTP storage percent(Preview)</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1186998072"/>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Workers percent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2411990361"/>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Sessions percent</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3130779173"/>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DTU limit</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106640429"/>
                  </a:ext>
                </a:extLst>
              </a:tr>
              <a:tr h="316861">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DTU used</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Average</a:t>
                      </a:r>
                    </a:p>
                  </a:txBody>
                  <a:tcPr marL="101600" marR="101600" marT="76200" marB="76200" anchor="ct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fontAlgn="t"/>
                      <a:r>
                        <a:rPr lang="nl-BE" sz="1200" dirty="0">
                          <a:effectLst/>
                        </a:rPr>
                        <a:t>5 minutes</a:t>
                      </a:r>
                    </a:p>
                  </a:txBody>
                  <a:tcPr marL="101600" marR="101600" marT="76200" marB="76200" anchor="ctr"/>
                </a:tc>
                <a:extLst>
                  <a:ext uri="{0D108BD9-81ED-4DB2-BD59-A6C34878D82A}">
                    <a16:rowId xmlns:a16="http://schemas.microsoft.com/office/drawing/2014/main" val="2115120536"/>
                  </a:ext>
                </a:extLst>
              </a:tr>
            </a:tbl>
          </a:graphicData>
        </a:graphic>
      </p:graphicFrame>
    </p:spTree>
    <p:extLst>
      <p:ext uri="{BB962C8B-B14F-4D97-AF65-F5344CB8AC3E}">
        <p14:creationId xmlns:p14="http://schemas.microsoft.com/office/powerpoint/2010/main" val="5747966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Configure Alerts through Azure Portal</a:t>
            </a:r>
          </a:p>
          <a:p>
            <a:pPr marL="571500" lvl="1" indent="-342900">
              <a:buFont typeface="Arial" panose="020B0604020202020204" pitchFamily="34" charset="0"/>
              <a:buChar char="•"/>
            </a:pPr>
            <a:r>
              <a:rPr lang="en-US" dirty="0"/>
              <a:t>Configure alerts through Azure Portal.</a:t>
            </a:r>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990636349"/>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7F69C-ED85-4A23-92FD-356CE23A65B2}"/>
              </a:ext>
            </a:extLst>
          </p:cNvPr>
          <p:cNvSpPr>
            <a:spLocks noGrp="1"/>
          </p:cNvSpPr>
          <p:nvPr>
            <p:ph type="title"/>
          </p:nvPr>
        </p:nvSpPr>
        <p:spPr>
          <a:xfrm>
            <a:off x="655638" y="320040"/>
            <a:ext cx="10880725" cy="461665"/>
          </a:xfrm>
        </p:spPr>
        <p:txBody>
          <a:bodyPr vert="horz" wrap="square" lIns="0" tIns="0" rIns="0" bIns="0" rtlCol="0" anchor="t">
            <a:normAutofit/>
          </a:bodyPr>
          <a:lstStyle/>
          <a:p>
            <a:r>
              <a:rPr lang="en-US" b="0" kern="1200" cap="none" spc="-50" baseline="0" dirty="0">
                <a:ln w="3175">
                  <a:noFill/>
                </a:ln>
                <a:effectLst/>
                <a:latin typeface="+mj-lt"/>
                <a:ea typeface="+mn-ea"/>
                <a:cs typeface="Segoe UI" pitchFamily="34" charset="0"/>
              </a:rPr>
              <a:t>Common Issues on Azure SQL Database</a:t>
            </a:r>
          </a:p>
        </p:txBody>
      </p:sp>
      <p:sp>
        <p:nvSpPr>
          <p:cNvPr id="3" name="Content Placeholder 2">
            <a:extLst>
              <a:ext uri="{FF2B5EF4-FFF2-40B4-BE49-F238E27FC236}">
                <a16:creationId xmlns:a16="http://schemas.microsoft.com/office/drawing/2014/main" id="{AE501DC3-FDD0-40DD-9670-EB73AA413A4A}"/>
              </a:ext>
            </a:extLst>
          </p:cNvPr>
          <p:cNvSpPr>
            <a:spLocks noGrp="1"/>
          </p:cNvSpPr>
          <p:nvPr>
            <p:ph sz="quarter" idx="13"/>
          </p:nvPr>
        </p:nvSpPr>
        <p:spPr>
          <a:xfrm>
            <a:off x="655638" y="1408113"/>
            <a:ext cx="10621962" cy="4819650"/>
          </a:xfrm>
        </p:spPr>
        <p:txBody>
          <a:bodyPr vert="horz" lIns="0" tIns="0" rIns="0" bIns="0" rtlCol="0">
            <a:normAutofit/>
          </a:bodyPr>
          <a:lstStyle/>
          <a:p>
            <a:r>
              <a:rPr lang="en-US" dirty="0"/>
              <a:t>Monitoring for Azure SQL Database is scoped at database level. </a:t>
            </a:r>
          </a:p>
          <a:p>
            <a:r>
              <a:rPr lang="en-US" dirty="0"/>
              <a:t>Here is list of most faced issues:</a:t>
            </a:r>
          </a:p>
          <a:p>
            <a:endParaRPr lang="en-US" dirty="0"/>
          </a:p>
        </p:txBody>
      </p:sp>
      <p:graphicFrame>
        <p:nvGraphicFramePr>
          <p:cNvPr id="6" name="Content Placeholder 2">
            <a:extLst>
              <a:ext uri="{FF2B5EF4-FFF2-40B4-BE49-F238E27FC236}">
                <a16:creationId xmlns:a16="http://schemas.microsoft.com/office/drawing/2014/main" id="{42493476-350B-4CF2-9C0D-2863689827C7}"/>
              </a:ext>
            </a:extLst>
          </p:cNvPr>
          <p:cNvGraphicFramePr/>
          <p:nvPr>
            <p:extLst>
              <p:ext uri="{D42A27DB-BD31-4B8C-83A1-F6EECF244321}">
                <p14:modId xmlns:p14="http://schemas.microsoft.com/office/powerpoint/2010/main" val="707795593"/>
              </p:ext>
            </p:extLst>
          </p:nvPr>
        </p:nvGraphicFramePr>
        <p:xfrm>
          <a:off x="655638" y="2438400"/>
          <a:ext cx="10774362" cy="37893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951179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616856428"/>
      </p:ext>
    </p:extLst>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Module Summary</a:t>
            </a:r>
          </a:p>
        </p:txBody>
      </p:sp>
      <p:graphicFrame>
        <p:nvGraphicFramePr>
          <p:cNvPr id="7" name="Diagram 6">
            <a:extLst>
              <a:ext uri="{FF2B5EF4-FFF2-40B4-BE49-F238E27FC236}">
                <a16:creationId xmlns:a16="http://schemas.microsoft.com/office/drawing/2014/main" id="{59902B4A-6F86-4B3D-AA92-ACBB0C6CCE5F}"/>
              </a:ext>
            </a:extLst>
          </p:cNvPr>
          <p:cNvGraphicFramePr/>
          <p:nvPr/>
        </p:nvGraphicFramePr>
        <p:xfrm>
          <a:off x="5008562" y="630238"/>
          <a:ext cx="6726237" cy="55975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156047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7F69C-ED85-4A23-92FD-356CE23A65B2}"/>
              </a:ext>
            </a:extLst>
          </p:cNvPr>
          <p:cNvSpPr>
            <a:spLocks noGrp="1"/>
          </p:cNvSpPr>
          <p:nvPr>
            <p:ph type="title"/>
          </p:nvPr>
        </p:nvSpPr>
        <p:spPr>
          <a:xfrm>
            <a:off x="655638" y="320040"/>
            <a:ext cx="10880725" cy="461665"/>
          </a:xfrm>
        </p:spPr>
        <p:txBody>
          <a:bodyPr wrap="square" anchor="t">
            <a:normAutofit/>
          </a:bodyPr>
          <a:lstStyle/>
          <a:p>
            <a:r>
              <a:rPr lang="en-US" dirty="0"/>
              <a:t>Tools to Monitor &amp; Troubleshoot Issues</a:t>
            </a:r>
          </a:p>
        </p:txBody>
      </p:sp>
      <p:graphicFrame>
        <p:nvGraphicFramePr>
          <p:cNvPr id="5" name="Content Placeholder 2">
            <a:extLst>
              <a:ext uri="{FF2B5EF4-FFF2-40B4-BE49-F238E27FC236}">
                <a16:creationId xmlns:a16="http://schemas.microsoft.com/office/drawing/2014/main" id="{34C2B634-0490-4A71-B9E3-36618416FF46}"/>
              </a:ext>
            </a:extLst>
          </p:cNvPr>
          <p:cNvGraphicFramePr>
            <a:graphicFrameLocks noGrp="1"/>
          </p:cNvGraphicFramePr>
          <p:nvPr>
            <p:ph sz="quarter" idx="13"/>
            <p:extLst>
              <p:ext uri="{D42A27DB-BD31-4B8C-83A1-F6EECF244321}">
                <p14:modId xmlns:p14="http://schemas.microsoft.com/office/powerpoint/2010/main" val="1887288201"/>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139609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9097962" cy="604798"/>
          </a:xfrm>
        </p:spPr>
        <p:txBody>
          <a:bodyPr/>
          <a:lstStyle/>
          <a:p>
            <a:r>
              <a:rPr lang="en-US" dirty="0"/>
              <a:t>Lesson 2: Monitoring Query Performance using Query Performance Insight</a:t>
            </a:r>
          </a:p>
        </p:txBody>
      </p:sp>
    </p:spTree>
    <p:extLst>
      <p:ext uri="{BB962C8B-B14F-4D97-AF65-F5344CB8AC3E}">
        <p14:creationId xmlns:p14="http://schemas.microsoft.com/office/powerpoint/2010/main" val="2894004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0b15a96f-9efd-4f0c-b199-c53b2a01cb9d" xsi:nil="true"/>
    <_Flow_SignoffStatus xmlns="0b15a96f-9efd-4f0c-b199-c53b2a01cb9d" xsi:nil="true"/>
  </documentManagement>
</p:properties>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4" ma:contentTypeDescription="Create a new document." ma:contentTypeScope="" ma:versionID="1df681d697d8aac7f77a088f07a7b417">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5129d515aaa5dedb4e6d2d94ccbda6ba"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_Flow_SignoffStatus" ma:index="21"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D086AF5-CCD3-41C8-B98A-2B159789D38E}">
  <ds:schemaRefs>
    <ds:schemaRef ds:uri="Strauss.PersonalizationDefinition"/>
  </ds:schemaRefs>
</ds:datastoreItem>
</file>

<file path=customXml/itemProps10.xml><?xml version="1.0" encoding="utf-8"?>
<ds:datastoreItem xmlns:ds="http://schemas.openxmlformats.org/officeDocument/2006/customXml" ds:itemID="{FAAD2813-D34E-4224-893A-52086B883B26}">
  <ds:schemaRefs>
    <ds:schemaRef ds:uri="Strauss.PersonalizationDefinition"/>
  </ds:schemaRefs>
</ds:datastoreItem>
</file>

<file path=customXml/itemProps11.xml><?xml version="1.0" encoding="utf-8"?>
<ds:datastoreItem xmlns:ds="http://schemas.openxmlformats.org/officeDocument/2006/customXml" ds:itemID="{7C42A160-080E-4178-8FDB-B5422D4D778A}">
  <ds:schemaRefs>
    <ds:schemaRef ds:uri="Strauss.PersonalizationDefinition"/>
  </ds:schemaRefs>
</ds:datastoreItem>
</file>

<file path=customXml/itemProps12.xml><?xml version="1.0" encoding="utf-8"?>
<ds:datastoreItem xmlns:ds="http://schemas.openxmlformats.org/officeDocument/2006/customXml" ds:itemID="{C4CFE6B5-E99B-4D88-B3E0-933AAC0488E3}">
  <ds:schemaRefs>
    <ds:schemaRef ds:uri="Strauss.PersonalizationDefinition"/>
  </ds:schemaRefs>
</ds:datastoreItem>
</file>

<file path=customXml/itemProps13.xml><?xml version="1.0" encoding="utf-8"?>
<ds:datastoreItem xmlns:ds="http://schemas.openxmlformats.org/officeDocument/2006/customXml" ds:itemID="{30DE8839-6C0E-456F-B5F7-2D1C6517E91C}">
  <ds:schemaRefs>
    <ds:schemaRef ds:uri="Strauss.PersonalizationDefinition"/>
  </ds:schemaRefs>
</ds:datastoreItem>
</file>

<file path=customXml/itemProps14.xml><?xml version="1.0" encoding="utf-8"?>
<ds:datastoreItem xmlns:ds="http://schemas.openxmlformats.org/officeDocument/2006/customXml" ds:itemID="{6151D266-999B-40FE-A8D8-758962D1837C}">
  <ds:schemaRefs>
    <ds:schemaRef ds:uri="http://schemas.microsoft.com/office/2006/metadata/properties"/>
    <ds:schemaRef ds:uri="http://schemas.microsoft.com/office/infopath/2007/PartnerControls"/>
    <ds:schemaRef ds:uri="http://schemas.microsoft.com/sharepoint/v3"/>
    <ds:schemaRef ds:uri="0b15a96f-9efd-4f0c-b199-c53b2a01cb9d"/>
  </ds:schemaRefs>
</ds:datastoreItem>
</file>

<file path=customXml/itemProps15.xml><?xml version="1.0" encoding="utf-8"?>
<ds:datastoreItem xmlns:ds="http://schemas.openxmlformats.org/officeDocument/2006/customXml" ds:itemID="{EBCC33FC-94BB-4B1D-A4C6-D2E6A3A4B1FD}">
  <ds:schemaRefs>
    <ds:schemaRef ds:uri="Strauss.PersonalizationDefinition"/>
  </ds:schemaRefs>
</ds:datastoreItem>
</file>

<file path=customXml/itemProps2.xml><?xml version="1.0" encoding="utf-8"?>
<ds:datastoreItem xmlns:ds="http://schemas.openxmlformats.org/officeDocument/2006/customXml" ds:itemID="{21996DCB-2E9B-4D88-9178-4782877E2D24}">
  <ds:schemaRefs>
    <ds:schemaRef ds:uri="http://schemas.microsoft.com/sharepoint/v3/contenttype/forms"/>
  </ds:schemaRefs>
</ds:datastoreItem>
</file>

<file path=customXml/itemProps3.xml><?xml version="1.0" encoding="utf-8"?>
<ds:datastoreItem xmlns:ds="http://schemas.openxmlformats.org/officeDocument/2006/customXml" ds:itemID="{9EEC7FED-AC7D-45C9-8F29-C2C8A7233C3D}">
  <ds:schemaRefs>
    <ds:schemaRef ds:uri="Strauss.PersonalizationDefinition"/>
  </ds:schemaRefs>
</ds:datastoreItem>
</file>

<file path=customXml/itemProps4.xml><?xml version="1.0" encoding="utf-8"?>
<ds:datastoreItem xmlns:ds="http://schemas.openxmlformats.org/officeDocument/2006/customXml" ds:itemID="{75C05EC8-D295-4080-807A-6EA8C339A657}">
  <ds:schemaRefs>
    <ds:schemaRef ds:uri="Strauss.PersonalizationDefinition"/>
  </ds:schemaRefs>
</ds:datastoreItem>
</file>

<file path=customXml/itemProps5.xml><?xml version="1.0" encoding="utf-8"?>
<ds:datastoreItem xmlns:ds="http://schemas.openxmlformats.org/officeDocument/2006/customXml" ds:itemID="{B9083F10-D6B6-4B37-8D1B-DE0C38CC04A8}">
  <ds:schemaRefs>
    <ds:schemaRef ds:uri="Strauss.PersonalizationDefinition"/>
  </ds:schemaRefs>
</ds:datastoreItem>
</file>

<file path=customXml/itemProps6.xml><?xml version="1.0" encoding="utf-8"?>
<ds:datastoreItem xmlns:ds="http://schemas.openxmlformats.org/officeDocument/2006/customXml" ds:itemID="{9CFE9A22-C3CB-45B7-B365-FE59FD6BB66B}">
  <ds:schemaRefs>
    <ds:schemaRef ds:uri="Strauss.PersonalizationDefinition"/>
  </ds:schemaRefs>
</ds:datastoreItem>
</file>

<file path=customXml/itemProps7.xml><?xml version="1.0" encoding="utf-8"?>
<ds:datastoreItem xmlns:ds="http://schemas.openxmlformats.org/officeDocument/2006/customXml" ds:itemID="{77E44C8F-FB8B-4273-B9DC-54AC873F6650}">
  <ds:schemaRefs>
    <ds:schemaRef ds:uri="Strauss.PersonalizationDefinition"/>
  </ds:schemaRefs>
</ds:datastoreItem>
</file>

<file path=customXml/itemProps8.xml><?xml version="1.0" encoding="utf-8"?>
<ds:datastoreItem xmlns:ds="http://schemas.openxmlformats.org/officeDocument/2006/customXml" ds:itemID="{037145F0-AEE6-4FF0-B4A5-C70012DC1F40}">
  <ds:schemaRefs>
    <ds:schemaRef ds:uri="Strauss.PersonalizationDefinition"/>
  </ds:schemaRefs>
</ds:datastoreItem>
</file>

<file path=customXml/itemProps9.xml><?xml version="1.0" encoding="utf-8"?>
<ds:datastoreItem xmlns:ds="http://schemas.openxmlformats.org/officeDocument/2006/customXml" ds:itemID="{2D48083B-C039-4CBA-BB44-751FA5573D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22</TotalTime>
  <Words>8762</Words>
  <Application>Microsoft Office PowerPoint</Application>
  <PresentationFormat>Widescreen</PresentationFormat>
  <Paragraphs>804</Paragraphs>
  <Slides>62</Slides>
  <Notes>52</Notes>
  <HiddenSlides>14</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62</vt:i4>
      </vt:variant>
    </vt:vector>
  </HeadingPairs>
  <TitlesOfParts>
    <vt:vector size="73" baseType="lpstr">
      <vt:lpstr>Arial</vt:lpstr>
      <vt:lpstr>Calibri</vt:lpstr>
      <vt:lpstr>Calibri Light</vt:lpstr>
      <vt:lpstr>Comic Sans MS</vt:lpstr>
      <vt:lpstr>Consolas</vt:lpstr>
      <vt:lpstr>Segoe UI</vt:lpstr>
      <vt:lpstr>Segoe UI Light</vt:lpstr>
      <vt:lpstr>Segoe UI Semibold</vt:lpstr>
      <vt:lpstr>Segoe UI Semilight</vt:lpstr>
      <vt:lpstr>Wingdings</vt:lpstr>
      <vt:lpstr>Dark Blue</vt:lpstr>
      <vt:lpstr>Monitoring and Tuning Azure SQL Database</vt:lpstr>
      <vt:lpstr>PowerPoint Presentation</vt:lpstr>
      <vt:lpstr>Learning Units covered in this Module</vt:lpstr>
      <vt:lpstr>Lesson 1: Monitoring and Troubleshooting Azure SQL Database</vt:lpstr>
      <vt:lpstr>Objectives</vt:lpstr>
      <vt:lpstr>Common Issues on Azure SQL Database</vt:lpstr>
      <vt:lpstr>Tools to Monitor &amp; Troubleshoot Issues</vt:lpstr>
      <vt:lpstr>Questions?</vt:lpstr>
      <vt:lpstr>Lesson 2: Monitoring Query Performance using Query Performance Insight</vt:lpstr>
      <vt:lpstr>Objectives</vt:lpstr>
      <vt:lpstr>Query Performance Insight </vt:lpstr>
      <vt:lpstr>Viewing individual query details</vt:lpstr>
      <vt:lpstr>Review top queries per duration</vt:lpstr>
      <vt:lpstr>Review top queries per execution count</vt:lpstr>
      <vt:lpstr>Query Store</vt:lpstr>
      <vt:lpstr>Demonstration</vt:lpstr>
      <vt:lpstr>Monitoring Query Performance using Query Performance Insights</vt:lpstr>
      <vt:lpstr>Questions?</vt:lpstr>
      <vt:lpstr>Knowledge Check</vt:lpstr>
      <vt:lpstr>Lesson 3: Azure SQL Database Tuning using Automatic Tuning</vt:lpstr>
      <vt:lpstr>Objectives</vt:lpstr>
      <vt:lpstr>Automatic Tuning</vt:lpstr>
      <vt:lpstr>Intelligent Performance – Automatic Tuning </vt:lpstr>
      <vt:lpstr>Automatic Tuning – Create Index</vt:lpstr>
      <vt:lpstr>Automatic Tuning – Drop Index</vt:lpstr>
      <vt:lpstr>Automatic Tuning – Parameterize Queries</vt:lpstr>
      <vt:lpstr>Questions?</vt:lpstr>
      <vt:lpstr>Knowledge Check</vt:lpstr>
      <vt:lpstr>Lesson 4: Monitoring Azure SQL Database Performance using Intelligent Insights</vt:lpstr>
      <vt:lpstr>Objectives</vt:lpstr>
      <vt:lpstr>Monitoring Azure SQL Database Performance using Intelligent Insights</vt:lpstr>
      <vt:lpstr>How does Intelligent Insights work?</vt:lpstr>
      <vt:lpstr>Performance Troubleshooting</vt:lpstr>
      <vt:lpstr>Performance Troubleshooting (continued)</vt:lpstr>
      <vt:lpstr>Use Intelligent Insights</vt:lpstr>
      <vt:lpstr>Azure SQL Analytics</vt:lpstr>
      <vt:lpstr>Configure Diagnostics</vt:lpstr>
      <vt:lpstr>Demonstration</vt:lpstr>
      <vt:lpstr>Questions?</vt:lpstr>
      <vt:lpstr>Knowledge Check</vt:lpstr>
      <vt:lpstr>Lesson 5: Monitoring Azure SQL Database Performance using Extended Events</vt:lpstr>
      <vt:lpstr>Objectives</vt:lpstr>
      <vt:lpstr>Why XEvent?</vt:lpstr>
      <vt:lpstr>XEvents Objects Explained</vt:lpstr>
      <vt:lpstr>XEvents Usage Scenarios</vt:lpstr>
      <vt:lpstr>How to enable Extended Events</vt:lpstr>
      <vt:lpstr>Storage Container Authorizations</vt:lpstr>
      <vt:lpstr>Collect Data Using Extended Events</vt:lpstr>
      <vt:lpstr>Demonstration</vt:lpstr>
      <vt:lpstr>Monitoring Azure SQL Database Performance using Extended Events</vt:lpstr>
      <vt:lpstr>Questions?</vt:lpstr>
      <vt:lpstr>Knowledge Check</vt:lpstr>
      <vt:lpstr>Lesson 6: Configure Alerts through Azure Portal</vt:lpstr>
      <vt:lpstr>Objectives</vt:lpstr>
      <vt:lpstr>Purpose of Alerts for Azure SQL Database</vt:lpstr>
      <vt:lpstr>Receiving an alert based on monitoring metrics or events on</vt:lpstr>
      <vt:lpstr>Purpose of Alerts for Azure SQL Database</vt:lpstr>
      <vt:lpstr>SQL Database alert values</vt:lpstr>
      <vt:lpstr>Demonstration</vt:lpstr>
      <vt:lpstr>Questions?</vt:lpstr>
      <vt:lpstr>Module 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nitoring and Tuning Azure SQL Database</dc:title>
  <dc:creator>Renata Festa</dc:creator>
  <cp:lastModifiedBy>John Deardurff</cp:lastModifiedBy>
  <cp:revision>5</cp:revision>
  <dcterms:created xsi:type="dcterms:W3CDTF">2020-03-30T14:36:26Z</dcterms:created>
  <dcterms:modified xsi:type="dcterms:W3CDTF">2021-08-25T21:3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ies>
</file>